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83" r:id="rId5"/>
  </p:sldMasterIdLst>
  <p:notesMasterIdLst>
    <p:notesMasterId r:id="rId7"/>
  </p:notesMasterIdLst>
  <p:sldIdLst>
    <p:sldId id="1801" r:id="rId6"/>
  </p:sldIdLst>
  <p:sldSz cx="9906000" cy="6858000" type="A4"/>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A8CBFF-2C98-4C0B-80BE-02253EEE2A33}" v="7" dt="2025-05-09T05:58:22.40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4" d="100"/>
          <a:sy n="94" d="100"/>
        </p:scale>
        <p:origin x="917" y="9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下坂 聡(SHIMOSAKA Satoshi)" userId="S::satoshi.shimosaka.n9h@cas.go.jp::a77f28bc-12c8-491e-acb3-262fd00db6c9" providerId="AD" clId="Web-{7CD95F75-1395-755B-3A5B-B676B7131FC7}"/>
    <pc:docChg chg="modSld">
      <pc:chgData name="下坂 聡(SHIMOSAKA Satoshi)" userId="S::satoshi.shimosaka.n9h@cas.go.jp::a77f28bc-12c8-491e-acb3-262fd00db6c9" providerId="AD" clId="Web-{7CD95F75-1395-755B-3A5B-B676B7131FC7}" dt="2025-04-16T06:19:41.892" v="517" actId="1076"/>
      <pc:docMkLst>
        <pc:docMk/>
      </pc:docMkLst>
      <pc:sldChg chg="modSp">
        <pc:chgData name="下坂 聡(SHIMOSAKA Satoshi)" userId="S::satoshi.shimosaka.n9h@cas.go.jp::a77f28bc-12c8-491e-acb3-262fd00db6c9" providerId="AD" clId="Web-{7CD95F75-1395-755B-3A5B-B676B7131FC7}" dt="2025-04-16T06:19:41.892" v="517" actId="1076"/>
        <pc:sldMkLst>
          <pc:docMk/>
          <pc:sldMk cId="1731062681" sldId="1801"/>
        </pc:sldMkLst>
        <pc:spChg chg="mod">
          <ac:chgData name="下坂 聡(SHIMOSAKA Satoshi)" userId="S::satoshi.shimosaka.n9h@cas.go.jp::a77f28bc-12c8-491e-acb3-262fd00db6c9" providerId="AD" clId="Web-{7CD95F75-1395-755B-3A5B-B676B7131FC7}" dt="2025-04-16T06:19:41.892" v="517" actId="1076"/>
          <ac:spMkLst>
            <pc:docMk/>
            <pc:sldMk cId="1731062681" sldId="1801"/>
            <ac:spMk id="9" creationId="{4EF196C3-6C2F-EAEC-23CC-6D7341178A1C}"/>
          </ac:spMkLst>
        </pc:spChg>
        <pc:graphicFrameChg chg="mod modGraphic">
          <ac:chgData name="下坂 聡(SHIMOSAKA Satoshi)" userId="S::satoshi.shimosaka.n9h@cas.go.jp::a77f28bc-12c8-491e-acb3-262fd00db6c9" providerId="AD" clId="Web-{7CD95F75-1395-755B-3A5B-B676B7131FC7}" dt="2025-04-16T06:19:39.126" v="516"/>
          <ac:graphicFrameMkLst>
            <pc:docMk/>
            <pc:sldMk cId="1731062681" sldId="1801"/>
            <ac:graphicFrameMk id="8" creationId="{37C17ED4-31B5-BE1E-4D38-25AA300C4F1B}"/>
          </ac:graphicFrameMkLst>
        </pc:graphicFrameChg>
      </pc:sldChg>
    </pc:docChg>
  </pc:docChgLst>
  <pc:docChgLst>
    <pc:chgData name="牧野 充希(MAKINO Atsuki)" userId="e1bb11f1-fc18-4a8c-a6ff-e197300cb8d1" providerId="ADAL" clId="{B4ACDB95-BA07-4F85-999C-5ADD128ACA0E}"/>
    <pc:docChg chg="modSld">
      <pc:chgData name="牧野 充希(MAKINO Atsuki)" userId="e1bb11f1-fc18-4a8c-a6ff-e197300cb8d1" providerId="ADAL" clId="{B4ACDB95-BA07-4F85-999C-5ADD128ACA0E}" dt="2025-04-30T09:27:26.110" v="51" actId="20577"/>
      <pc:docMkLst>
        <pc:docMk/>
      </pc:docMkLst>
      <pc:sldChg chg="modSp mod">
        <pc:chgData name="牧野 充希(MAKINO Atsuki)" userId="e1bb11f1-fc18-4a8c-a6ff-e197300cb8d1" providerId="ADAL" clId="{B4ACDB95-BA07-4F85-999C-5ADD128ACA0E}" dt="2025-04-30T09:27:26.110" v="51" actId="20577"/>
        <pc:sldMkLst>
          <pc:docMk/>
          <pc:sldMk cId="786981567" sldId="1800"/>
        </pc:sldMkLst>
        <pc:spChg chg="mod">
          <ac:chgData name="牧野 充希(MAKINO Atsuki)" userId="e1bb11f1-fc18-4a8c-a6ff-e197300cb8d1" providerId="ADAL" clId="{B4ACDB95-BA07-4F85-999C-5ADD128ACA0E}" dt="2025-04-30T09:27:26.110" v="51" actId="20577"/>
          <ac:spMkLst>
            <pc:docMk/>
            <pc:sldMk cId="786981567" sldId="1800"/>
            <ac:spMk id="5" creationId="{81D1DB79-8583-A99E-540E-8CB4E3888F88}"/>
          </ac:spMkLst>
        </pc:spChg>
      </pc:sldChg>
    </pc:docChg>
  </pc:docChgLst>
  <pc:docChgLst>
    <pc:chgData name="南 敦(MINAMI Atsushi)" userId="d3165040-e23c-45ef-af47-9418ec81b970" providerId="ADAL" clId="{D07F768C-E5F9-47B7-A9B7-6DDB89239B80}"/>
    <pc:docChg chg="undo custSel addSld delSld modSld sldOrd addSection delSection modSection">
      <pc:chgData name="南 敦(MINAMI Atsushi)" userId="d3165040-e23c-45ef-af47-9418ec81b970" providerId="ADAL" clId="{D07F768C-E5F9-47B7-A9B7-6DDB89239B80}" dt="2025-01-16T19:04:26.447" v="717" actId="20577"/>
      <pc:docMkLst>
        <pc:docMk/>
      </pc:docMkLst>
      <pc:sldChg chg="addSp delSp modSp add mod modClrScheme chgLayout">
        <pc:chgData name="南 敦(MINAMI Atsushi)" userId="d3165040-e23c-45ef-af47-9418ec81b970" providerId="ADAL" clId="{D07F768C-E5F9-47B7-A9B7-6DDB89239B80}" dt="2025-01-10T02:20:47.507" v="689" actId="20577"/>
        <pc:sldMkLst>
          <pc:docMk/>
          <pc:sldMk cId="1927059807" sldId="1764"/>
        </pc:sldMkLst>
        <pc:spChg chg="mod ord">
          <ac:chgData name="南 敦(MINAMI Atsushi)" userId="d3165040-e23c-45ef-af47-9418ec81b970" providerId="ADAL" clId="{D07F768C-E5F9-47B7-A9B7-6DDB89239B80}" dt="2025-01-09T17:37:03.761" v="581" actId="700"/>
          <ac:spMkLst>
            <pc:docMk/>
            <pc:sldMk cId="1927059807" sldId="1764"/>
            <ac:spMk id="5" creationId="{BE7313C8-2F30-4CC0-A171-28A0CD336245}"/>
          </ac:spMkLst>
        </pc:spChg>
        <pc:spChg chg="add del mod">
          <ac:chgData name="南 敦(MINAMI Atsushi)" userId="d3165040-e23c-45ef-af47-9418ec81b970" providerId="ADAL" clId="{D07F768C-E5F9-47B7-A9B7-6DDB89239B80}" dt="2025-01-09T17:24:22.785" v="380" actId="478"/>
          <ac:spMkLst>
            <pc:docMk/>
            <pc:sldMk cId="1927059807" sldId="1764"/>
            <ac:spMk id="9" creationId="{589D126C-B3A5-4BC7-F9D8-47A3A60DA746}"/>
          </ac:spMkLst>
        </pc:spChg>
        <pc:spChg chg="add del mod ord">
          <ac:chgData name="南 敦(MINAMI Atsushi)" userId="d3165040-e23c-45ef-af47-9418ec81b970" providerId="ADAL" clId="{D07F768C-E5F9-47B7-A9B7-6DDB89239B80}" dt="2025-01-09T17:31:24.186" v="501" actId="1076"/>
          <ac:spMkLst>
            <pc:docMk/>
            <pc:sldMk cId="1927059807" sldId="1764"/>
            <ac:spMk id="13" creationId="{C9D1F27F-4B0A-684E-8B2A-9709917657AA}"/>
          </ac:spMkLst>
        </pc:spChg>
        <pc:spChg chg="mod">
          <ac:chgData name="南 敦(MINAMI Atsushi)" userId="d3165040-e23c-45ef-af47-9418ec81b970" providerId="ADAL" clId="{D07F768C-E5F9-47B7-A9B7-6DDB89239B80}" dt="2025-01-10T02:20:47.507" v="689" actId="20577"/>
          <ac:spMkLst>
            <pc:docMk/>
            <pc:sldMk cId="1927059807" sldId="1764"/>
            <ac:spMk id="18" creationId="{045734C6-2283-9884-2A64-78EFE34E5FB9}"/>
          </ac:spMkLst>
        </pc:spChg>
        <pc:spChg chg="mod">
          <ac:chgData name="南 敦(MINAMI Atsushi)" userId="d3165040-e23c-45ef-af47-9418ec81b970" providerId="ADAL" clId="{D07F768C-E5F9-47B7-A9B7-6DDB89239B80}" dt="2025-01-09T17:17:17.043" v="305" actId="20577"/>
          <ac:spMkLst>
            <pc:docMk/>
            <pc:sldMk cId="1927059807" sldId="1764"/>
            <ac:spMk id="19" creationId="{F2A5B345-2BF3-1306-C701-19C71A83B96A}"/>
          </ac:spMkLst>
        </pc:spChg>
        <pc:spChg chg="mod">
          <ac:chgData name="南 敦(MINAMI Atsushi)" userId="d3165040-e23c-45ef-af47-9418ec81b970" providerId="ADAL" clId="{D07F768C-E5F9-47B7-A9B7-6DDB89239B80}" dt="2025-01-09T17:17:53.476" v="311" actId="20577"/>
          <ac:spMkLst>
            <pc:docMk/>
            <pc:sldMk cId="1927059807" sldId="1764"/>
            <ac:spMk id="21" creationId="{433C4577-EA22-DB12-2E98-B02340DD7E76}"/>
          </ac:spMkLst>
        </pc:spChg>
        <pc:graphicFrameChg chg="modGraphic">
          <ac:chgData name="南 敦(MINAMI Atsushi)" userId="d3165040-e23c-45ef-af47-9418ec81b970" providerId="ADAL" clId="{D07F768C-E5F9-47B7-A9B7-6DDB89239B80}" dt="2025-01-09T17:17:36.716" v="309" actId="20577"/>
          <ac:graphicFrameMkLst>
            <pc:docMk/>
            <pc:sldMk cId="1927059807" sldId="1764"/>
            <ac:graphicFrameMk id="2" creationId="{AC417C49-8970-3FBF-DACA-7F241776FB0E}"/>
          </ac:graphicFrameMkLst>
        </pc:graphicFrameChg>
      </pc:sldChg>
      <pc:sldChg chg="add del">
        <pc:chgData name="南 敦(MINAMI Atsushi)" userId="d3165040-e23c-45ef-af47-9418ec81b970" providerId="ADAL" clId="{D07F768C-E5F9-47B7-A9B7-6DDB89239B80}" dt="2025-01-09T17:14:03.710" v="261" actId="2696"/>
        <pc:sldMkLst>
          <pc:docMk/>
          <pc:sldMk cId="1003148262" sldId="1799"/>
        </pc:sldMkLst>
      </pc:sldChg>
      <pc:sldChg chg="delSp modSp add del mod ord">
        <pc:chgData name="南 敦(MINAMI Atsushi)" userId="d3165040-e23c-45ef-af47-9418ec81b970" providerId="ADAL" clId="{D07F768C-E5F9-47B7-A9B7-6DDB89239B80}" dt="2025-01-16T19:04:26.447" v="717" actId="20577"/>
        <pc:sldMkLst>
          <pc:docMk/>
          <pc:sldMk cId="786981567" sldId="1800"/>
        </pc:sldMkLst>
        <pc:spChg chg="del">
          <ac:chgData name="南 敦(MINAMI Atsushi)" userId="d3165040-e23c-45ef-af47-9418ec81b970" providerId="ADAL" clId="{D07F768C-E5F9-47B7-A9B7-6DDB89239B80}" dt="2025-01-16T16:41:54.901" v="690" actId="478"/>
          <ac:spMkLst>
            <pc:docMk/>
            <pc:sldMk cId="786981567" sldId="1800"/>
            <ac:spMk id="4" creationId="{12809128-2959-884E-4E45-A5144B64E61E}"/>
          </ac:spMkLst>
        </pc:spChg>
        <pc:spChg chg="mod">
          <ac:chgData name="南 敦(MINAMI Atsushi)" userId="d3165040-e23c-45ef-af47-9418ec81b970" providerId="ADAL" clId="{D07F768C-E5F9-47B7-A9B7-6DDB89239B80}" dt="2025-01-16T19:04:26.447" v="717" actId="20577"/>
          <ac:spMkLst>
            <pc:docMk/>
            <pc:sldMk cId="786981567" sldId="1800"/>
            <ac:spMk id="5" creationId="{81D1DB79-8583-A99E-540E-8CB4E3888F88}"/>
          </ac:spMkLst>
        </pc:spChg>
      </pc:sldChg>
      <pc:sldChg chg="modSp mod">
        <pc:chgData name="南 敦(MINAMI Atsushi)" userId="d3165040-e23c-45ef-af47-9418ec81b970" providerId="ADAL" clId="{D07F768C-E5F9-47B7-A9B7-6DDB89239B80}" dt="2025-01-09T17:29:33.436" v="468" actId="20577"/>
        <pc:sldMkLst>
          <pc:docMk/>
          <pc:sldMk cId="2174853723" sldId="1802"/>
        </pc:sldMkLst>
        <pc:spChg chg="mod">
          <ac:chgData name="南 敦(MINAMI Atsushi)" userId="d3165040-e23c-45ef-af47-9418ec81b970" providerId="ADAL" clId="{D07F768C-E5F9-47B7-A9B7-6DDB89239B80}" dt="2025-01-09T17:28:39.027" v="456" actId="1076"/>
          <ac:spMkLst>
            <pc:docMk/>
            <pc:sldMk cId="2174853723" sldId="1802"/>
            <ac:spMk id="15" creationId="{AB215C18-256D-7CEE-E7C8-D402A51CD974}"/>
          </ac:spMkLst>
        </pc:spChg>
        <pc:spChg chg="mod">
          <ac:chgData name="南 敦(MINAMI Atsushi)" userId="d3165040-e23c-45ef-af47-9418ec81b970" providerId="ADAL" clId="{D07F768C-E5F9-47B7-A9B7-6DDB89239B80}" dt="2025-01-09T17:29:33.436" v="468" actId="20577"/>
          <ac:spMkLst>
            <pc:docMk/>
            <pc:sldMk cId="2174853723" sldId="1802"/>
            <ac:spMk id="21" creationId="{1CE48F07-2263-E2AB-D2E2-821FF0157F73}"/>
          </ac:spMkLst>
        </pc:spChg>
        <pc:spChg chg="mod">
          <ac:chgData name="南 敦(MINAMI Atsushi)" userId="d3165040-e23c-45ef-af47-9418ec81b970" providerId="ADAL" clId="{D07F768C-E5F9-47B7-A9B7-6DDB89239B80}" dt="2025-01-09T17:28:55.773" v="459" actId="20577"/>
          <ac:spMkLst>
            <pc:docMk/>
            <pc:sldMk cId="2174853723" sldId="1802"/>
            <ac:spMk id="28" creationId="{D0A09A31-B145-CE29-6B63-3AE0379CE7ED}"/>
          </ac:spMkLst>
        </pc:spChg>
      </pc:sldChg>
      <pc:sldChg chg="delSp modSp add del mod">
        <pc:chgData name="南 敦(MINAMI Atsushi)" userId="d3165040-e23c-45ef-af47-9418ec81b970" providerId="ADAL" clId="{D07F768C-E5F9-47B7-A9B7-6DDB89239B80}" dt="2025-01-09T17:36:35.461" v="579" actId="2696"/>
        <pc:sldMkLst>
          <pc:docMk/>
          <pc:sldMk cId="620634248" sldId="1804"/>
        </pc:sldMkLst>
        <pc:spChg chg="mod">
          <ac:chgData name="南 敦(MINAMI Atsushi)" userId="d3165040-e23c-45ef-af47-9418ec81b970" providerId="ADAL" clId="{D07F768C-E5F9-47B7-A9B7-6DDB89239B80}" dt="2025-01-09T17:06:58.293" v="90" actId="1036"/>
          <ac:spMkLst>
            <pc:docMk/>
            <pc:sldMk cId="620634248" sldId="1804"/>
            <ac:spMk id="2" creationId="{5F2D8408-1CA6-F273-B2C3-DAE07E0C2F44}"/>
          </ac:spMkLst>
        </pc:spChg>
        <pc:spChg chg="del">
          <ac:chgData name="南 敦(MINAMI Atsushi)" userId="d3165040-e23c-45ef-af47-9418ec81b970" providerId="ADAL" clId="{D07F768C-E5F9-47B7-A9B7-6DDB89239B80}" dt="2025-01-09T17:04:42.878" v="6" actId="478"/>
          <ac:spMkLst>
            <pc:docMk/>
            <pc:sldMk cId="620634248" sldId="1804"/>
            <ac:spMk id="3" creationId="{13CF5F74-B0CC-0804-84B5-AA312627120F}"/>
          </ac:spMkLst>
        </pc:spChg>
        <pc:spChg chg="mod">
          <ac:chgData name="南 敦(MINAMI Atsushi)" userId="d3165040-e23c-45ef-af47-9418ec81b970" providerId="ADAL" clId="{D07F768C-E5F9-47B7-A9B7-6DDB89239B80}" dt="2025-01-09T17:12:49.626" v="248" actId="20577"/>
          <ac:spMkLst>
            <pc:docMk/>
            <pc:sldMk cId="620634248" sldId="1804"/>
            <ac:spMk id="5" creationId="{81D1DB79-8583-A99E-540E-8CB4E3888F88}"/>
          </ac:spMkLst>
        </pc:spChg>
      </pc:sldChg>
      <pc:sldChg chg="modSp add mod">
        <pc:chgData name="南 敦(MINAMI Atsushi)" userId="d3165040-e23c-45ef-af47-9418ec81b970" providerId="ADAL" clId="{D07F768C-E5F9-47B7-A9B7-6DDB89239B80}" dt="2025-01-09T17:19:27.517" v="313" actId="20577"/>
        <pc:sldMkLst>
          <pc:docMk/>
          <pc:sldMk cId="3494048592" sldId="1805"/>
        </pc:sldMkLst>
        <pc:graphicFrameChg chg="modGraphic">
          <ac:chgData name="南 敦(MINAMI Atsushi)" userId="d3165040-e23c-45ef-af47-9418ec81b970" providerId="ADAL" clId="{D07F768C-E5F9-47B7-A9B7-6DDB89239B80}" dt="2025-01-09T17:19:27.517" v="313" actId="20577"/>
          <ac:graphicFrameMkLst>
            <pc:docMk/>
            <pc:sldMk cId="3494048592" sldId="1805"/>
            <ac:graphicFrameMk id="8" creationId="{37C17ED4-31B5-BE1E-4D38-25AA300C4F1B}"/>
          </ac:graphicFrameMkLst>
        </pc:graphicFrameChg>
      </pc:sldChg>
      <pc:sldChg chg="addSp delSp modSp add mod">
        <pc:chgData name="南 敦(MINAMI Atsushi)" userId="d3165040-e23c-45ef-af47-9418ec81b970" providerId="ADAL" clId="{D07F768C-E5F9-47B7-A9B7-6DDB89239B80}" dt="2025-01-09T17:26:37.201" v="421" actId="14100"/>
        <pc:sldMkLst>
          <pc:docMk/>
          <pc:sldMk cId="1539400230" sldId="1806"/>
        </pc:sldMkLst>
        <pc:spChg chg="del">
          <ac:chgData name="南 敦(MINAMI Atsushi)" userId="d3165040-e23c-45ef-af47-9418ec81b970" providerId="ADAL" clId="{D07F768C-E5F9-47B7-A9B7-6DDB89239B80}" dt="2025-01-09T17:23:02.723" v="363" actId="478"/>
          <ac:spMkLst>
            <pc:docMk/>
            <pc:sldMk cId="1539400230" sldId="1806"/>
            <ac:spMk id="15" creationId="{AB215C18-256D-7CEE-E7C8-D402A51CD974}"/>
          </ac:spMkLst>
        </pc:spChg>
        <pc:spChg chg="add mod ord">
          <ac:chgData name="南 敦(MINAMI Atsushi)" userId="d3165040-e23c-45ef-af47-9418ec81b970" providerId="ADAL" clId="{D07F768C-E5F9-47B7-A9B7-6DDB89239B80}" dt="2025-01-09T17:26:37.201" v="421" actId="14100"/>
          <ac:spMkLst>
            <pc:docMk/>
            <pc:sldMk cId="1539400230" sldId="1806"/>
            <ac:spMk id="16" creationId="{5CCDF56A-7F17-7705-D560-EFADB4C3FC8E}"/>
          </ac:spMkLst>
        </pc:spChg>
        <pc:spChg chg="mod">
          <ac:chgData name="南 敦(MINAMI Atsushi)" userId="d3165040-e23c-45ef-af47-9418ec81b970" providerId="ADAL" clId="{D07F768C-E5F9-47B7-A9B7-6DDB89239B80}" dt="2025-01-09T17:20:09.932" v="334" actId="20577"/>
          <ac:spMkLst>
            <pc:docMk/>
            <pc:sldMk cId="1539400230" sldId="1806"/>
            <ac:spMk id="21" creationId="{1CE48F07-2263-E2AB-D2E2-821FF0157F73}"/>
          </ac:spMkLst>
        </pc:spChg>
        <pc:spChg chg="mod">
          <ac:chgData name="南 敦(MINAMI Atsushi)" userId="d3165040-e23c-45ef-af47-9418ec81b970" providerId="ADAL" clId="{D07F768C-E5F9-47B7-A9B7-6DDB89239B80}" dt="2025-01-09T17:19:51.782" v="322" actId="20577"/>
          <ac:spMkLst>
            <pc:docMk/>
            <pc:sldMk cId="1539400230" sldId="1806"/>
            <ac:spMk id="25" creationId="{6E42A63F-2890-CD55-BF86-10D64ABE91F0}"/>
          </ac:spMkLst>
        </pc:spChg>
        <pc:spChg chg="mod">
          <ac:chgData name="南 敦(MINAMI Atsushi)" userId="d3165040-e23c-45ef-af47-9418ec81b970" providerId="ADAL" clId="{D07F768C-E5F9-47B7-A9B7-6DDB89239B80}" dt="2025-01-09T17:20:19.721" v="337" actId="20577"/>
          <ac:spMkLst>
            <pc:docMk/>
            <pc:sldMk cId="1539400230" sldId="1806"/>
            <ac:spMk id="28" creationId="{D0A09A31-B145-CE29-6B63-3AE0379CE7ED}"/>
          </ac:spMkLst>
        </pc:spChg>
        <pc:graphicFrameChg chg="modGraphic">
          <ac:chgData name="南 敦(MINAMI Atsushi)" userId="d3165040-e23c-45ef-af47-9418ec81b970" providerId="ADAL" clId="{D07F768C-E5F9-47B7-A9B7-6DDB89239B80}" dt="2025-01-09T17:19:35.165" v="315" actId="20577"/>
          <ac:graphicFrameMkLst>
            <pc:docMk/>
            <pc:sldMk cId="1539400230" sldId="1806"/>
            <ac:graphicFrameMk id="8" creationId="{37C17ED4-31B5-BE1E-4D38-25AA300C4F1B}"/>
          </ac:graphicFrameMkLst>
        </pc:graphicFrameChg>
      </pc:sldChg>
      <pc:sldChg chg="modSp add mod">
        <pc:chgData name="南 敦(MINAMI Atsushi)" userId="d3165040-e23c-45ef-af47-9418ec81b970" providerId="ADAL" clId="{D07F768C-E5F9-47B7-A9B7-6DDB89239B80}" dt="2025-01-09T17:21:07.263" v="353" actId="20577"/>
        <pc:sldMkLst>
          <pc:docMk/>
          <pc:sldMk cId="3361803510" sldId="1807"/>
        </pc:sldMkLst>
        <pc:spChg chg="mod">
          <ac:chgData name="南 敦(MINAMI Atsushi)" userId="d3165040-e23c-45ef-af47-9418ec81b970" providerId="ADAL" clId="{D07F768C-E5F9-47B7-A9B7-6DDB89239B80}" dt="2025-01-09T17:21:07.263" v="353" actId="20577"/>
          <ac:spMkLst>
            <pc:docMk/>
            <pc:sldMk cId="3361803510" sldId="1807"/>
            <ac:spMk id="8" creationId="{D7FDF8F7-1165-88FF-2A7D-D571C1D4BFAE}"/>
          </ac:spMkLst>
        </pc:spChg>
      </pc:sldChg>
      <pc:sldChg chg="modSp add mod modClrScheme chgLayout">
        <pc:chgData name="南 敦(MINAMI Atsushi)" userId="d3165040-e23c-45ef-af47-9418ec81b970" providerId="ADAL" clId="{D07F768C-E5F9-47B7-A9B7-6DDB89239B80}" dt="2025-01-09T17:36:58.343" v="580" actId="700"/>
        <pc:sldMkLst>
          <pc:docMk/>
          <pc:sldMk cId="2260495983" sldId="1808"/>
        </pc:sldMkLst>
        <pc:spChg chg="mod ord">
          <ac:chgData name="南 敦(MINAMI Atsushi)" userId="d3165040-e23c-45ef-af47-9418ec81b970" providerId="ADAL" clId="{D07F768C-E5F9-47B7-A9B7-6DDB89239B80}" dt="2025-01-09T17:36:58.343" v="580" actId="700"/>
          <ac:spMkLst>
            <pc:docMk/>
            <pc:sldMk cId="2260495983" sldId="1808"/>
            <ac:spMk id="5" creationId="{BE7313C8-2F30-4CC0-A171-28A0CD336245}"/>
          </ac:spMkLst>
        </pc:spChg>
        <pc:graphicFrameChg chg="modGraphic">
          <ac:chgData name="南 敦(MINAMI Atsushi)" userId="d3165040-e23c-45ef-af47-9418ec81b970" providerId="ADAL" clId="{D07F768C-E5F9-47B7-A9B7-6DDB89239B80}" dt="2025-01-09T17:21:38.093" v="355" actId="20577"/>
          <ac:graphicFrameMkLst>
            <pc:docMk/>
            <pc:sldMk cId="2260495983" sldId="1808"/>
            <ac:graphicFrameMk id="2" creationId="{AC417C49-8970-3FBF-DACA-7F241776FB0E}"/>
          </ac:graphicFrameMkLst>
        </pc:graphicFrameChg>
      </pc:sldChg>
      <pc:sldChg chg="modSp add mod">
        <pc:chgData name="南 敦(MINAMI Atsushi)" userId="d3165040-e23c-45ef-af47-9418ec81b970" providerId="ADAL" clId="{D07F768C-E5F9-47B7-A9B7-6DDB89239B80}" dt="2025-01-10T02:20:20.758" v="680" actId="20577"/>
        <pc:sldMkLst>
          <pc:docMk/>
          <pc:sldMk cId="2538732313" sldId="1809"/>
        </pc:sldMkLst>
        <pc:spChg chg="mod">
          <ac:chgData name="南 敦(MINAMI Atsushi)" userId="d3165040-e23c-45ef-af47-9418ec81b970" providerId="ADAL" clId="{D07F768C-E5F9-47B7-A9B7-6DDB89239B80}" dt="2025-01-10T02:20:20.758" v="680" actId="20577"/>
          <ac:spMkLst>
            <pc:docMk/>
            <pc:sldMk cId="2538732313" sldId="1809"/>
            <ac:spMk id="8" creationId="{D7FDF8F7-1165-88FF-2A7D-D571C1D4BFAE}"/>
          </ac:spMkLst>
        </pc:spChg>
      </pc:sldChg>
      <pc:sldChg chg="add del">
        <pc:chgData name="南 敦(MINAMI Atsushi)" userId="d3165040-e23c-45ef-af47-9418ec81b970" providerId="ADAL" clId="{D07F768C-E5F9-47B7-A9B7-6DDB89239B80}" dt="2025-01-10T02:13:13.281" v="654" actId="2696"/>
        <pc:sldMkLst>
          <pc:docMk/>
          <pc:sldMk cId="246833147" sldId="1810"/>
        </pc:sldMkLst>
      </pc:sldChg>
    </pc:docChg>
  </pc:docChgLst>
  <pc:docChgLst>
    <pc:chgData name="澤村 僚(SAWAMURA Ryo)" userId="4cfe6057-f08c-4400-b030-3b1cc012e179" providerId="ADAL" clId="{546E6E7F-BB68-41D2-9EC6-8BC240A9A6CE}"/>
    <pc:docChg chg="undo custSel modSld">
      <pc:chgData name="澤村 僚(SAWAMURA Ryo)" userId="4cfe6057-f08c-4400-b030-3b1cc012e179" providerId="ADAL" clId="{546E6E7F-BB68-41D2-9EC6-8BC240A9A6CE}" dt="2024-12-25T04:17:05.343" v="135" actId="20577"/>
      <pc:docMkLst>
        <pc:docMk/>
      </pc:docMkLst>
      <pc:sldChg chg="delSp modSp mod">
        <pc:chgData name="澤村 僚(SAWAMURA Ryo)" userId="4cfe6057-f08c-4400-b030-3b1cc012e179" providerId="ADAL" clId="{546E6E7F-BB68-41D2-9EC6-8BC240A9A6CE}" dt="2024-12-25T04:17:05.343" v="135" actId="20577"/>
        <pc:sldMkLst>
          <pc:docMk/>
          <pc:sldMk cId="1731062681" sldId="1801"/>
        </pc:sldMkLst>
        <pc:spChg chg="mod">
          <ac:chgData name="澤村 僚(SAWAMURA Ryo)" userId="4cfe6057-f08c-4400-b030-3b1cc012e179" providerId="ADAL" clId="{546E6E7F-BB68-41D2-9EC6-8BC240A9A6CE}" dt="2024-12-18T08:23:43.053" v="88" actId="1076"/>
          <ac:spMkLst>
            <pc:docMk/>
            <pc:sldMk cId="1731062681" sldId="1801"/>
            <ac:spMk id="9" creationId="{4EF196C3-6C2F-EAEC-23CC-6D7341178A1C}"/>
          </ac:spMkLst>
        </pc:spChg>
        <pc:spChg chg="del">
          <ac:chgData name="澤村 僚(SAWAMURA Ryo)" userId="4cfe6057-f08c-4400-b030-3b1cc012e179" providerId="ADAL" clId="{546E6E7F-BB68-41D2-9EC6-8BC240A9A6CE}" dt="2024-12-18T08:23:48.386" v="89" actId="478"/>
          <ac:spMkLst>
            <pc:docMk/>
            <pc:sldMk cId="1731062681" sldId="1801"/>
            <ac:spMk id="10" creationId="{35543A15-5B1D-8CB3-2CC6-E1EA7F2D4B43}"/>
          </ac:spMkLst>
        </pc:spChg>
        <pc:spChg chg="mod">
          <ac:chgData name="澤村 僚(SAWAMURA Ryo)" userId="4cfe6057-f08c-4400-b030-3b1cc012e179" providerId="ADAL" clId="{546E6E7F-BB68-41D2-9EC6-8BC240A9A6CE}" dt="2024-12-25T04:17:05.343" v="135" actId="20577"/>
          <ac:spMkLst>
            <pc:docMk/>
            <pc:sldMk cId="1731062681" sldId="1801"/>
            <ac:spMk id="23" creationId="{E4C1C023-A7F7-8307-3383-F4CAF1FF2658}"/>
          </ac:spMkLst>
        </pc:spChg>
        <pc:graphicFrameChg chg="mod modGraphic">
          <ac:chgData name="澤村 僚(SAWAMURA Ryo)" userId="4cfe6057-f08c-4400-b030-3b1cc012e179" providerId="ADAL" clId="{546E6E7F-BB68-41D2-9EC6-8BC240A9A6CE}" dt="2024-12-18T07:57:03.806" v="87" actId="255"/>
          <ac:graphicFrameMkLst>
            <pc:docMk/>
            <pc:sldMk cId="1731062681" sldId="1801"/>
            <ac:graphicFrameMk id="8" creationId="{37C17ED4-31B5-BE1E-4D38-25AA300C4F1B}"/>
          </ac:graphicFrameMkLst>
        </pc:graphicFrameChg>
      </pc:sldChg>
    </pc:docChg>
  </pc:docChgLst>
  <pc:docChgLst>
    <pc:chgData name="澤村 僚(SAWAMURA Ryo)" userId="4cfe6057-f08c-4400-b030-3b1cc012e179" providerId="ADAL" clId="{E43C68B4-1EC5-4584-9729-1AE755622A99}"/>
    <pc:docChg chg="modSld">
      <pc:chgData name="澤村 僚(SAWAMURA Ryo)" userId="4cfe6057-f08c-4400-b030-3b1cc012e179" providerId="ADAL" clId="{E43C68B4-1EC5-4584-9729-1AE755622A99}" dt="2024-12-26T01:08:21.611" v="29" actId="1076"/>
      <pc:docMkLst>
        <pc:docMk/>
      </pc:docMkLst>
      <pc:sldChg chg="addSp modSp mod">
        <pc:chgData name="澤村 僚(SAWAMURA Ryo)" userId="4cfe6057-f08c-4400-b030-3b1cc012e179" providerId="ADAL" clId="{E43C68B4-1EC5-4584-9729-1AE755622A99}" dt="2024-12-26T01:08:21.611" v="29" actId="1076"/>
        <pc:sldMkLst>
          <pc:docMk/>
          <pc:sldMk cId="786981567" sldId="1800"/>
        </pc:sldMkLst>
        <pc:spChg chg="mod">
          <ac:chgData name="澤村 僚(SAWAMURA Ryo)" userId="4cfe6057-f08c-4400-b030-3b1cc012e179" providerId="ADAL" clId="{E43C68B4-1EC5-4584-9729-1AE755622A99}" dt="2024-12-25T18:08:16.443" v="8" actId="1076"/>
          <ac:spMkLst>
            <pc:docMk/>
            <pc:sldMk cId="786981567" sldId="1800"/>
            <ac:spMk id="2" creationId="{5F2D8408-1CA6-F273-B2C3-DAE07E0C2F44}"/>
          </ac:spMkLst>
        </pc:spChg>
        <pc:spChg chg="mod">
          <ac:chgData name="澤村 僚(SAWAMURA Ryo)" userId="4cfe6057-f08c-4400-b030-3b1cc012e179" providerId="ADAL" clId="{E43C68B4-1EC5-4584-9729-1AE755622A99}" dt="2024-12-25T18:08:34.326" v="15" actId="14100"/>
          <ac:spMkLst>
            <pc:docMk/>
            <pc:sldMk cId="786981567" sldId="1800"/>
            <ac:spMk id="3" creationId="{13CF5F74-B0CC-0804-84B5-AA312627120F}"/>
          </ac:spMkLst>
        </pc:spChg>
        <pc:spChg chg="add mod">
          <ac:chgData name="澤村 僚(SAWAMURA Ryo)" userId="4cfe6057-f08c-4400-b030-3b1cc012e179" providerId="ADAL" clId="{E43C68B4-1EC5-4584-9729-1AE755622A99}" dt="2024-12-26T01:08:21.611" v="29" actId="1076"/>
          <ac:spMkLst>
            <pc:docMk/>
            <pc:sldMk cId="786981567" sldId="1800"/>
            <ac:spMk id="4" creationId="{12809128-2959-884E-4E45-A5144B64E61E}"/>
          </ac:spMkLst>
        </pc:spChg>
      </pc:sldChg>
    </pc:docChg>
  </pc:docChgLst>
  <pc:docChgLst>
    <pc:chgData name="西村 笙平(NISHIMURA Shohei)" userId="S::shohei.nishimura.z3c@cas.go.jp::d08d2c33-9814-43fe-9d7b-ea3e5d006c86" providerId="AD" clId="Web-{6846CCBD-6F92-2876-284D-90CED584EEE6}"/>
    <pc:docChg chg="modSld">
      <pc:chgData name="西村 笙平(NISHIMURA Shohei)" userId="S::shohei.nishimura.z3c@cas.go.jp::d08d2c33-9814-43fe-9d7b-ea3e5d006c86" providerId="AD" clId="Web-{6846CCBD-6F92-2876-284D-90CED584EEE6}" dt="2025-04-18T02:05:03.415" v="1"/>
      <pc:docMkLst>
        <pc:docMk/>
      </pc:docMkLst>
      <pc:sldChg chg="modSp">
        <pc:chgData name="西村 笙平(NISHIMURA Shohei)" userId="S::shohei.nishimura.z3c@cas.go.jp::d08d2c33-9814-43fe-9d7b-ea3e5d006c86" providerId="AD" clId="Web-{6846CCBD-6F92-2876-284D-90CED584EEE6}" dt="2025-04-18T02:05:03.415" v="1"/>
        <pc:sldMkLst>
          <pc:docMk/>
          <pc:sldMk cId="1731062681" sldId="1801"/>
        </pc:sldMkLst>
        <pc:graphicFrameChg chg="mod modGraphic">
          <ac:chgData name="西村 笙平(NISHIMURA Shohei)" userId="S::shohei.nishimura.z3c@cas.go.jp::d08d2c33-9814-43fe-9d7b-ea3e5d006c86" providerId="AD" clId="Web-{6846CCBD-6F92-2876-284D-90CED584EEE6}" dt="2025-04-18T02:05:03.415" v="1"/>
          <ac:graphicFrameMkLst>
            <pc:docMk/>
            <pc:sldMk cId="1731062681" sldId="1801"/>
            <ac:graphicFrameMk id="8" creationId="{37C17ED4-31B5-BE1E-4D38-25AA300C4F1B}"/>
          </ac:graphicFrameMkLst>
        </pc:graphicFrameChg>
      </pc:sldChg>
    </pc:docChg>
  </pc:docChgLst>
  <pc:docChgLst>
    <pc:chgData name="南 敦(MINAMI Atsushi)" userId="d3165040-e23c-45ef-af47-9418ec81b970" providerId="ADAL" clId="{90CFA07F-E5B3-4888-93A7-C87228327420}"/>
    <pc:docChg chg="undo custSel modSld">
      <pc:chgData name="南 敦(MINAMI Atsushi)" userId="d3165040-e23c-45ef-af47-9418ec81b970" providerId="ADAL" clId="{90CFA07F-E5B3-4888-93A7-C87228327420}" dt="2024-12-18T08:56:13.554" v="2619" actId="20577"/>
      <pc:docMkLst>
        <pc:docMk/>
      </pc:docMkLst>
      <pc:sldChg chg="addSp delSp modSp mod">
        <pc:chgData name="南 敦(MINAMI Atsushi)" userId="d3165040-e23c-45ef-af47-9418ec81b970" providerId="ADAL" clId="{90CFA07F-E5B3-4888-93A7-C87228327420}" dt="2024-12-18T03:50:23.375" v="938" actId="478"/>
        <pc:sldMkLst>
          <pc:docMk/>
          <pc:sldMk cId="786981567" sldId="1800"/>
        </pc:sldMkLst>
        <pc:spChg chg="mod">
          <ac:chgData name="南 敦(MINAMI Atsushi)" userId="d3165040-e23c-45ef-af47-9418ec81b970" providerId="ADAL" clId="{90CFA07F-E5B3-4888-93A7-C87228327420}" dt="2024-12-18T03:03:30.277" v="32" actId="20577"/>
          <ac:spMkLst>
            <pc:docMk/>
            <pc:sldMk cId="786981567" sldId="1800"/>
            <ac:spMk id="2" creationId="{5F2D8408-1CA6-F273-B2C3-DAE07E0C2F44}"/>
          </ac:spMkLst>
        </pc:spChg>
        <pc:spChg chg="mod">
          <ac:chgData name="南 敦(MINAMI Atsushi)" userId="d3165040-e23c-45ef-af47-9418ec81b970" providerId="ADAL" clId="{90CFA07F-E5B3-4888-93A7-C87228327420}" dt="2024-12-18T03:03:34.615" v="39" actId="20577"/>
          <ac:spMkLst>
            <pc:docMk/>
            <pc:sldMk cId="786981567" sldId="1800"/>
            <ac:spMk id="3" creationId="{13CF5F74-B0CC-0804-84B5-AA312627120F}"/>
          </ac:spMkLst>
        </pc:spChg>
        <pc:spChg chg="add del mod">
          <ac:chgData name="南 敦(MINAMI Atsushi)" userId="d3165040-e23c-45ef-af47-9418ec81b970" providerId="ADAL" clId="{90CFA07F-E5B3-4888-93A7-C87228327420}" dt="2024-12-18T03:50:23.375" v="938" actId="478"/>
          <ac:spMkLst>
            <pc:docMk/>
            <pc:sldMk cId="786981567" sldId="1800"/>
            <ac:spMk id="4" creationId="{4DB9B580-14CF-685F-BC2D-535B73D9F951}"/>
          </ac:spMkLst>
        </pc:spChg>
        <pc:spChg chg="mod">
          <ac:chgData name="南 敦(MINAMI Atsushi)" userId="d3165040-e23c-45ef-af47-9418ec81b970" providerId="ADAL" clId="{90CFA07F-E5B3-4888-93A7-C87228327420}" dt="2024-12-18T03:50:18.647" v="937" actId="20577"/>
          <ac:spMkLst>
            <pc:docMk/>
            <pc:sldMk cId="786981567" sldId="1800"/>
            <ac:spMk id="5" creationId="{81D1DB79-8583-A99E-540E-8CB4E3888F88}"/>
          </ac:spMkLst>
        </pc:spChg>
      </pc:sldChg>
      <pc:sldChg chg="modSp mod">
        <pc:chgData name="南 敦(MINAMI Atsushi)" userId="d3165040-e23c-45ef-af47-9418ec81b970" providerId="ADAL" clId="{90CFA07F-E5B3-4888-93A7-C87228327420}" dt="2024-12-18T08:56:02.514" v="2615" actId="20577"/>
        <pc:sldMkLst>
          <pc:docMk/>
          <pc:sldMk cId="1731062681" sldId="1801"/>
        </pc:sldMkLst>
        <pc:spChg chg="mod">
          <ac:chgData name="南 敦(MINAMI Atsushi)" userId="d3165040-e23c-45ef-af47-9418ec81b970" providerId="ADAL" clId="{90CFA07F-E5B3-4888-93A7-C87228327420}" dt="2024-12-18T03:14:49.506" v="735" actId="1076"/>
          <ac:spMkLst>
            <pc:docMk/>
            <pc:sldMk cId="1731062681" sldId="1801"/>
            <ac:spMk id="10" creationId="{35543A15-5B1D-8CB3-2CC6-E1EA7F2D4B43}"/>
          </ac:spMkLst>
        </pc:spChg>
        <pc:graphicFrameChg chg="mod modGraphic">
          <ac:chgData name="南 敦(MINAMI Atsushi)" userId="d3165040-e23c-45ef-af47-9418ec81b970" providerId="ADAL" clId="{90CFA07F-E5B3-4888-93A7-C87228327420}" dt="2024-12-18T08:56:02.514" v="2615" actId="20577"/>
          <ac:graphicFrameMkLst>
            <pc:docMk/>
            <pc:sldMk cId="1731062681" sldId="1801"/>
            <ac:graphicFrameMk id="8" creationId="{37C17ED4-31B5-BE1E-4D38-25AA300C4F1B}"/>
          </ac:graphicFrameMkLst>
        </pc:graphicFrameChg>
      </pc:sldChg>
      <pc:sldChg chg="modSp mod">
        <pc:chgData name="南 敦(MINAMI Atsushi)" userId="d3165040-e23c-45ef-af47-9418ec81b970" providerId="ADAL" clId="{90CFA07F-E5B3-4888-93A7-C87228327420}" dt="2024-12-18T08:56:13.554" v="2619" actId="20577"/>
        <pc:sldMkLst>
          <pc:docMk/>
          <pc:sldMk cId="2174853723" sldId="1802"/>
        </pc:sldMkLst>
        <pc:spChg chg="mod">
          <ac:chgData name="南 敦(MINAMI Atsushi)" userId="d3165040-e23c-45ef-af47-9418ec81b970" providerId="ADAL" clId="{90CFA07F-E5B3-4888-93A7-C87228327420}" dt="2024-12-18T08:55:14.897" v="2600" actId="14100"/>
          <ac:spMkLst>
            <pc:docMk/>
            <pc:sldMk cId="2174853723" sldId="1802"/>
            <ac:spMk id="3" creationId="{C8A3523E-49B5-64AD-925C-2E71989F6FC8}"/>
          </ac:spMkLst>
        </pc:spChg>
        <pc:spChg chg="mod">
          <ac:chgData name="南 敦(MINAMI Atsushi)" userId="d3165040-e23c-45ef-af47-9418ec81b970" providerId="ADAL" clId="{90CFA07F-E5B3-4888-93A7-C87228327420}" dt="2024-12-18T08:55:08.092" v="2599" actId="1036"/>
          <ac:spMkLst>
            <pc:docMk/>
            <pc:sldMk cId="2174853723" sldId="1802"/>
            <ac:spMk id="4" creationId="{79F07E1F-BD8A-6EF9-8286-94C1A647960B}"/>
          </ac:spMkLst>
        </pc:spChg>
        <pc:spChg chg="mod">
          <ac:chgData name="南 敦(MINAMI Atsushi)" userId="d3165040-e23c-45ef-af47-9418ec81b970" providerId="ADAL" clId="{90CFA07F-E5B3-4888-93A7-C87228327420}" dt="2024-12-18T08:55:19.865" v="2606" actId="1036"/>
          <ac:spMkLst>
            <pc:docMk/>
            <pc:sldMk cId="2174853723" sldId="1802"/>
            <ac:spMk id="7" creationId="{3FB4849D-60FC-271F-FD2C-2270B52FDA46}"/>
          </ac:spMkLst>
        </pc:spChg>
        <pc:spChg chg="mod">
          <ac:chgData name="南 敦(MINAMI Atsushi)" userId="d3165040-e23c-45ef-af47-9418ec81b970" providerId="ADAL" clId="{90CFA07F-E5B3-4888-93A7-C87228327420}" dt="2024-12-18T08:54:53.501" v="2590" actId="1036"/>
          <ac:spMkLst>
            <pc:docMk/>
            <pc:sldMk cId="2174853723" sldId="1802"/>
            <ac:spMk id="9" creationId="{4EF196C3-6C2F-EAEC-23CC-6D7341178A1C}"/>
          </ac:spMkLst>
        </pc:spChg>
        <pc:spChg chg="mod">
          <ac:chgData name="南 敦(MINAMI Atsushi)" userId="d3165040-e23c-45ef-af47-9418ec81b970" providerId="ADAL" clId="{90CFA07F-E5B3-4888-93A7-C87228327420}" dt="2024-12-18T08:55:24.043" v="2611" actId="1036"/>
          <ac:spMkLst>
            <pc:docMk/>
            <pc:sldMk cId="2174853723" sldId="1802"/>
            <ac:spMk id="11" creationId="{6BE75387-9B28-51BA-42FE-14811FC58A67}"/>
          </ac:spMkLst>
        </pc:spChg>
        <pc:graphicFrameChg chg="mod modGraphic">
          <ac:chgData name="南 敦(MINAMI Atsushi)" userId="d3165040-e23c-45ef-af47-9418ec81b970" providerId="ADAL" clId="{90CFA07F-E5B3-4888-93A7-C87228327420}" dt="2024-12-18T08:56:13.554" v="2619" actId="20577"/>
          <ac:graphicFrameMkLst>
            <pc:docMk/>
            <pc:sldMk cId="2174853723" sldId="1802"/>
            <ac:graphicFrameMk id="16" creationId="{4328BA06-C622-B011-947E-DCBE5C9ECD51}"/>
          </ac:graphicFrameMkLst>
        </pc:graphicFrameChg>
      </pc:sldChg>
      <pc:sldChg chg="modSp mod">
        <pc:chgData name="南 敦(MINAMI Atsushi)" userId="d3165040-e23c-45ef-af47-9418ec81b970" providerId="ADAL" clId="{90CFA07F-E5B3-4888-93A7-C87228327420}" dt="2024-12-18T04:08:36.882" v="965" actId="20577"/>
        <pc:sldMkLst>
          <pc:docMk/>
          <pc:sldMk cId="4155459258" sldId="1803"/>
        </pc:sldMkLst>
        <pc:spChg chg="mod">
          <ac:chgData name="南 敦(MINAMI Atsushi)" userId="d3165040-e23c-45ef-af47-9418ec81b970" providerId="ADAL" clId="{90CFA07F-E5B3-4888-93A7-C87228327420}" dt="2024-12-18T04:08:06.130" v="951" actId="20577"/>
          <ac:spMkLst>
            <pc:docMk/>
            <pc:sldMk cId="4155459258" sldId="1803"/>
            <ac:spMk id="8" creationId="{D7FDF8F7-1165-88FF-2A7D-D571C1D4BFAE}"/>
          </ac:spMkLst>
        </pc:spChg>
        <pc:graphicFrameChg chg="modGraphic">
          <ac:chgData name="南 敦(MINAMI Atsushi)" userId="d3165040-e23c-45ef-af47-9418ec81b970" providerId="ADAL" clId="{90CFA07F-E5B3-4888-93A7-C87228327420}" dt="2024-12-18T04:08:36.882" v="965" actId="20577"/>
          <ac:graphicFrameMkLst>
            <pc:docMk/>
            <pc:sldMk cId="4155459258" sldId="1803"/>
            <ac:graphicFrameMk id="11" creationId="{ACF7D667-AD41-DFCA-B65A-E63FABE01CF7}"/>
          </ac:graphicFrameMkLst>
        </pc:graphicFrameChg>
      </pc:sldChg>
    </pc:docChg>
  </pc:docChgLst>
  <pc:docChgLst>
    <pc:chgData name="牧野 充希(MAKINO Atsuki)" userId="e1bb11f1-fc18-4a8c-a6ff-e197300cb8d1" providerId="ADAL" clId="{3D355F57-3802-40E8-A1F1-61B8B41E18AD}"/>
    <pc:docChg chg="undo custSel addSld delSld modSld sldOrd addSection modSection">
      <pc:chgData name="牧野 充希(MAKINO Atsuki)" userId="e1bb11f1-fc18-4a8c-a6ff-e197300cb8d1" providerId="ADAL" clId="{3D355F57-3802-40E8-A1F1-61B8B41E18AD}" dt="2025-04-22T13:35:30.292" v="756" actId="20577"/>
      <pc:docMkLst>
        <pc:docMk/>
      </pc:docMkLst>
      <pc:sldChg chg="addSp modSp del mod">
        <pc:chgData name="牧野 充希(MAKINO Atsuki)" userId="e1bb11f1-fc18-4a8c-a6ff-e197300cb8d1" providerId="ADAL" clId="{3D355F57-3802-40E8-A1F1-61B8B41E18AD}" dt="2025-04-22T12:59:34.618" v="202" actId="2696"/>
        <pc:sldMkLst>
          <pc:docMk/>
          <pc:sldMk cId="1927059807" sldId="1764"/>
        </pc:sldMkLst>
        <pc:spChg chg="mod">
          <ac:chgData name="牧野 充希(MAKINO Atsuki)" userId="e1bb11f1-fc18-4a8c-a6ff-e197300cb8d1" providerId="ADAL" clId="{3D355F57-3802-40E8-A1F1-61B8B41E18AD}" dt="2025-04-22T12:58:53.795" v="191" actId="20577"/>
          <ac:spMkLst>
            <pc:docMk/>
            <pc:sldMk cId="1927059807" sldId="1764"/>
            <ac:spMk id="10" creationId="{7D56EA1E-EC7F-C9A7-E36B-EE9BDC7082B1}"/>
          </ac:spMkLst>
        </pc:spChg>
        <pc:spChg chg="add mod">
          <ac:chgData name="牧野 充希(MAKINO Atsuki)" userId="e1bb11f1-fc18-4a8c-a6ff-e197300cb8d1" providerId="ADAL" clId="{3D355F57-3802-40E8-A1F1-61B8B41E18AD}" dt="2025-04-22T12:58:28.202" v="185"/>
          <ac:spMkLst>
            <pc:docMk/>
            <pc:sldMk cId="1927059807" sldId="1764"/>
            <ac:spMk id="18" creationId="{70FB8389-9860-15EF-1957-8277EED79FF0}"/>
          </ac:spMkLst>
        </pc:spChg>
        <pc:graphicFrameChg chg="modGraphic">
          <ac:chgData name="牧野 充希(MAKINO Atsuki)" userId="e1bb11f1-fc18-4a8c-a6ff-e197300cb8d1" providerId="ADAL" clId="{3D355F57-3802-40E8-A1F1-61B8B41E18AD}" dt="2025-04-22T12:45:04.839" v="63" actId="207"/>
          <ac:graphicFrameMkLst>
            <pc:docMk/>
            <pc:sldMk cId="1927059807" sldId="1764"/>
            <ac:graphicFrameMk id="2" creationId="{AC417C49-8970-3FBF-DACA-7F241776FB0E}"/>
          </ac:graphicFrameMkLst>
        </pc:graphicFrameChg>
      </pc:sldChg>
      <pc:sldChg chg="modSp mod">
        <pc:chgData name="牧野 充希(MAKINO Atsuki)" userId="e1bb11f1-fc18-4a8c-a6ff-e197300cb8d1" providerId="ADAL" clId="{3D355F57-3802-40E8-A1F1-61B8B41E18AD}" dt="2025-04-22T13:26:23.183" v="510" actId="20577"/>
        <pc:sldMkLst>
          <pc:docMk/>
          <pc:sldMk cId="786981567" sldId="1800"/>
        </pc:sldMkLst>
        <pc:spChg chg="mod">
          <ac:chgData name="牧野 充希(MAKINO Atsuki)" userId="e1bb11f1-fc18-4a8c-a6ff-e197300cb8d1" providerId="ADAL" clId="{3D355F57-3802-40E8-A1F1-61B8B41E18AD}" dt="2025-04-22T13:26:23.183" v="510" actId="20577"/>
          <ac:spMkLst>
            <pc:docMk/>
            <pc:sldMk cId="786981567" sldId="1800"/>
            <ac:spMk id="5" creationId="{81D1DB79-8583-A99E-540E-8CB4E3888F88}"/>
          </ac:spMkLst>
        </pc:spChg>
      </pc:sldChg>
      <pc:sldChg chg="modSp mod">
        <pc:chgData name="牧野 充希(MAKINO Atsuki)" userId="e1bb11f1-fc18-4a8c-a6ff-e197300cb8d1" providerId="ADAL" clId="{3D355F57-3802-40E8-A1F1-61B8B41E18AD}" dt="2025-04-22T13:13:02.318" v="370" actId="1036"/>
        <pc:sldMkLst>
          <pc:docMk/>
          <pc:sldMk cId="1731062681" sldId="1801"/>
        </pc:sldMkLst>
        <pc:spChg chg="mod">
          <ac:chgData name="牧野 充希(MAKINO Atsuki)" userId="e1bb11f1-fc18-4a8c-a6ff-e197300cb8d1" providerId="ADAL" clId="{3D355F57-3802-40E8-A1F1-61B8B41E18AD}" dt="2025-04-22T13:13:02.318" v="370" actId="1036"/>
          <ac:spMkLst>
            <pc:docMk/>
            <pc:sldMk cId="1731062681" sldId="1801"/>
            <ac:spMk id="9" creationId="{4EF196C3-6C2F-EAEC-23CC-6D7341178A1C}"/>
          </ac:spMkLst>
        </pc:spChg>
      </pc:sldChg>
      <pc:sldChg chg="modSp mod">
        <pc:chgData name="牧野 充希(MAKINO Atsuki)" userId="e1bb11f1-fc18-4a8c-a6ff-e197300cb8d1" providerId="ADAL" clId="{3D355F57-3802-40E8-A1F1-61B8B41E18AD}" dt="2025-04-22T13:27:07.805" v="541" actId="20577"/>
        <pc:sldMkLst>
          <pc:docMk/>
          <pc:sldMk cId="4155459258" sldId="1803"/>
        </pc:sldMkLst>
        <pc:spChg chg="mod">
          <ac:chgData name="牧野 充希(MAKINO Atsuki)" userId="e1bb11f1-fc18-4a8c-a6ff-e197300cb8d1" providerId="ADAL" clId="{3D355F57-3802-40E8-A1F1-61B8B41E18AD}" dt="2025-04-22T13:27:07.805" v="541" actId="20577"/>
          <ac:spMkLst>
            <pc:docMk/>
            <pc:sldMk cId="4155459258" sldId="1803"/>
            <ac:spMk id="8" creationId="{D7FDF8F7-1165-88FF-2A7D-D571C1D4BFAE}"/>
          </ac:spMkLst>
        </pc:spChg>
      </pc:sldChg>
      <pc:sldChg chg="modSp mod">
        <pc:chgData name="牧野 充希(MAKINO Atsuki)" userId="e1bb11f1-fc18-4a8c-a6ff-e197300cb8d1" providerId="ADAL" clId="{3D355F57-3802-40E8-A1F1-61B8B41E18AD}" dt="2025-04-22T13:20:25.377" v="393" actId="20577"/>
        <pc:sldMkLst>
          <pc:docMk/>
          <pc:sldMk cId="3494048592" sldId="1805"/>
        </pc:sldMkLst>
        <pc:spChg chg="mod">
          <ac:chgData name="牧野 充希(MAKINO Atsuki)" userId="e1bb11f1-fc18-4a8c-a6ff-e197300cb8d1" providerId="ADAL" clId="{3D355F57-3802-40E8-A1F1-61B8B41E18AD}" dt="2025-04-22T13:13:25.231" v="391" actId="1036"/>
          <ac:spMkLst>
            <pc:docMk/>
            <pc:sldMk cId="3494048592" sldId="1805"/>
            <ac:spMk id="9" creationId="{4EF196C3-6C2F-EAEC-23CC-6D7341178A1C}"/>
          </ac:spMkLst>
        </pc:spChg>
        <pc:graphicFrameChg chg="mod modGraphic">
          <ac:chgData name="牧野 充希(MAKINO Atsuki)" userId="e1bb11f1-fc18-4a8c-a6ff-e197300cb8d1" providerId="ADAL" clId="{3D355F57-3802-40E8-A1F1-61B8B41E18AD}" dt="2025-04-22T13:20:25.377" v="393" actId="20577"/>
          <ac:graphicFrameMkLst>
            <pc:docMk/>
            <pc:sldMk cId="3494048592" sldId="1805"/>
            <ac:graphicFrameMk id="8" creationId="{37C17ED4-31B5-BE1E-4D38-25AA300C4F1B}"/>
          </ac:graphicFrameMkLst>
        </pc:graphicFrameChg>
      </pc:sldChg>
      <pc:sldChg chg="modSp mod">
        <pc:chgData name="牧野 充希(MAKINO Atsuki)" userId="e1bb11f1-fc18-4a8c-a6ff-e197300cb8d1" providerId="ADAL" clId="{3D355F57-3802-40E8-A1F1-61B8B41E18AD}" dt="2025-04-22T13:20:34.347" v="395" actId="20577"/>
        <pc:sldMkLst>
          <pc:docMk/>
          <pc:sldMk cId="1539400230" sldId="1806"/>
        </pc:sldMkLst>
        <pc:spChg chg="mod">
          <ac:chgData name="牧野 充希(MAKINO Atsuki)" userId="e1bb11f1-fc18-4a8c-a6ff-e197300cb8d1" providerId="ADAL" clId="{3D355F57-3802-40E8-A1F1-61B8B41E18AD}" dt="2025-04-22T13:00:31.951" v="231" actId="1076"/>
          <ac:spMkLst>
            <pc:docMk/>
            <pc:sldMk cId="1539400230" sldId="1806"/>
            <ac:spMk id="2" creationId="{7848149B-D4FA-B760-5D11-F1A5E4E7DF97}"/>
          </ac:spMkLst>
        </pc:spChg>
        <pc:spChg chg="mod">
          <ac:chgData name="牧野 充希(MAKINO Atsuki)" userId="e1bb11f1-fc18-4a8c-a6ff-e197300cb8d1" providerId="ADAL" clId="{3D355F57-3802-40E8-A1F1-61B8B41E18AD}" dt="2025-04-22T13:05:30.485" v="356" actId="14100"/>
          <ac:spMkLst>
            <pc:docMk/>
            <pc:sldMk cId="1539400230" sldId="1806"/>
            <ac:spMk id="4" creationId="{79F07E1F-BD8A-6EF9-8286-94C1A647960B}"/>
          </ac:spMkLst>
        </pc:spChg>
        <pc:spChg chg="mod">
          <ac:chgData name="牧野 充希(MAKINO Atsuki)" userId="e1bb11f1-fc18-4a8c-a6ff-e197300cb8d1" providerId="ADAL" clId="{3D355F57-3802-40E8-A1F1-61B8B41E18AD}" dt="2025-04-22T13:05:24.815" v="354" actId="1076"/>
          <ac:spMkLst>
            <pc:docMk/>
            <pc:sldMk cId="1539400230" sldId="1806"/>
            <ac:spMk id="7" creationId="{3FB4849D-60FC-271F-FD2C-2270B52FDA46}"/>
          </ac:spMkLst>
        </pc:spChg>
        <pc:spChg chg="mod">
          <ac:chgData name="牧野 充希(MAKINO Atsuki)" userId="e1bb11f1-fc18-4a8c-a6ff-e197300cb8d1" providerId="ADAL" clId="{3D355F57-3802-40E8-A1F1-61B8B41E18AD}" dt="2025-04-22T13:13:10.741" v="382" actId="1036"/>
          <ac:spMkLst>
            <pc:docMk/>
            <pc:sldMk cId="1539400230" sldId="1806"/>
            <ac:spMk id="9" creationId="{4EF196C3-6C2F-EAEC-23CC-6D7341178A1C}"/>
          </ac:spMkLst>
        </pc:spChg>
        <pc:spChg chg="mod">
          <ac:chgData name="牧野 充希(MAKINO Atsuki)" userId="e1bb11f1-fc18-4a8c-a6ff-e197300cb8d1" providerId="ADAL" clId="{3D355F57-3802-40E8-A1F1-61B8B41E18AD}" dt="2025-04-22T13:05:27.452" v="355" actId="1076"/>
          <ac:spMkLst>
            <pc:docMk/>
            <pc:sldMk cId="1539400230" sldId="1806"/>
            <ac:spMk id="11" creationId="{6BE75387-9B28-51BA-42FE-14811FC58A67}"/>
          </ac:spMkLst>
        </pc:spChg>
        <pc:spChg chg="mod">
          <ac:chgData name="牧野 充希(MAKINO Atsuki)" userId="e1bb11f1-fc18-4a8c-a6ff-e197300cb8d1" providerId="ADAL" clId="{3D355F57-3802-40E8-A1F1-61B8B41E18AD}" dt="2025-04-22T13:05:37.462" v="357" actId="1076"/>
          <ac:spMkLst>
            <pc:docMk/>
            <pc:sldMk cId="1539400230" sldId="1806"/>
            <ac:spMk id="13" creationId="{E337FF87-CDFB-2557-A7CD-69F4779D6DF2}"/>
          </ac:spMkLst>
        </pc:spChg>
        <pc:graphicFrameChg chg="mod modGraphic">
          <ac:chgData name="牧野 充希(MAKINO Atsuki)" userId="e1bb11f1-fc18-4a8c-a6ff-e197300cb8d1" providerId="ADAL" clId="{3D355F57-3802-40E8-A1F1-61B8B41E18AD}" dt="2025-04-22T13:20:34.347" v="395" actId="20577"/>
          <ac:graphicFrameMkLst>
            <pc:docMk/>
            <pc:sldMk cId="1539400230" sldId="1806"/>
            <ac:graphicFrameMk id="8" creationId="{37C17ED4-31B5-BE1E-4D38-25AA300C4F1B}"/>
          </ac:graphicFrameMkLst>
        </pc:graphicFrameChg>
      </pc:sldChg>
      <pc:sldChg chg="modSp mod">
        <pc:chgData name="牧野 充希(MAKINO Atsuki)" userId="e1bb11f1-fc18-4a8c-a6ff-e197300cb8d1" providerId="ADAL" clId="{3D355F57-3802-40E8-A1F1-61B8B41E18AD}" dt="2025-04-22T13:35:24.920" v="750" actId="20577"/>
        <pc:sldMkLst>
          <pc:docMk/>
          <pc:sldMk cId="3361803510" sldId="1807"/>
        </pc:sldMkLst>
        <pc:spChg chg="mod">
          <ac:chgData name="牧野 充希(MAKINO Atsuki)" userId="e1bb11f1-fc18-4a8c-a6ff-e197300cb8d1" providerId="ADAL" clId="{3D355F57-3802-40E8-A1F1-61B8B41E18AD}" dt="2025-04-22T13:35:24.920" v="750" actId="20577"/>
          <ac:spMkLst>
            <pc:docMk/>
            <pc:sldMk cId="3361803510" sldId="1807"/>
            <ac:spMk id="8" creationId="{D7FDF8F7-1165-88FF-2A7D-D571C1D4BFAE}"/>
          </ac:spMkLst>
        </pc:spChg>
        <pc:graphicFrameChg chg="modGraphic">
          <ac:chgData name="牧野 充希(MAKINO Atsuki)" userId="e1bb11f1-fc18-4a8c-a6ff-e197300cb8d1" providerId="ADAL" clId="{3D355F57-3802-40E8-A1F1-61B8B41E18AD}" dt="2025-04-22T12:41:30.322" v="2" actId="20577"/>
          <ac:graphicFrameMkLst>
            <pc:docMk/>
            <pc:sldMk cId="3361803510" sldId="1807"/>
            <ac:graphicFrameMk id="11" creationId="{ACF7D667-AD41-DFCA-B65A-E63FABE01CF7}"/>
          </ac:graphicFrameMkLst>
        </pc:graphicFrameChg>
      </pc:sldChg>
      <pc:sldChg chg="addSp delSp modSp mod">
        <pc:chgData name="牧野 充希(MAKINO Atsuki)" userId="e1bb11f1-fc18-4a8c-a6ff-e197300cb8d1" providerId="ADAL" clId="{3D355F57-3802-40E8-A1F1-61B8B41E18AD}" dt="2025-04-22T13:34:35.666" v="727" actId="20577"/>
        <pc:sldMkLst>
          <pc:docMk/>
          <pc:sldMk cId="2260495983" sldId="1808"/>
        </pc:sldMkLst>
        <pc:spChg chg="mod">
          <ac:chgData name="牧野 充希(MAKINO Atsuki)" userId="e1bb11f1-fc18-4a8c-a6ff-e197300cb8d1" providerId="ADAL" clId="{3D355F57-3802-40E8-A1F1-61B8B41E18AD}" dt="2025-04-22T13:22:59.295" v="423" actId="1076"/>
          <ac:spMkLst>
            <pc:docMk/>
            <pc:sldMk cId="2260495983" sldId="1808"/>
            <ac:spMk id="3" creationId="{5574DA80-DC80-8417-D3D5-9208D8C811E5}"/>
          </ac:spMkLst>
        </pc:spChg>
        <pc:spChg chg="del">
          <ac:chgData name="牧野 充希(MAKINO Atsuki)" userId="e1bb11f1-fc18-4a8c-a6ff-e197300cb8d1" providerId="ADAL" clId="{3D355F57-3802-40E8-A1F1-61B8B41E18AD}" dt="2025-04-22T13:00:40.322" v="232" actId="478"/>
          <ac:spMkLst>
            <pc:docMk/>
            <pc:sldMk cId="2260495983" sldId="1808"/>
            <ac:spMk id="4" creationId="{14406E2A-5AD1-7701-3F05-846C7E4F2E70}"/>
          </ac:spMkLst>
        </pc:spChg>
        <pc:spChg chg="add del mod">
          <ac:chgData name="牧野 充希(MAKINO Atsuki)" userId="e1bb11f1-fc18-4a8c-a6ff-e197300cb8d1" providerId="ADAL" clId="{3D355F57-3802-40E8-A1F1-61B8B41E18AD}" dt="2025-04-22T13:00:56.885" v="246" actId="478"/>
          <ac:spMkLst>
            <pc:docMk/>
            <pc:sldMk cId="2260495983" sldId="1808"/>
            <ac:spMk id="8" creationId="{ED115C34-24B9-AF23-80D7-30B34FAF00A3}"/>
          </ac:spMkLst>
        </pc:spChg>
        <pc:spChg chg="add mod">
          <ac:chgData name="牧野 充希(MAKINO Atsuki)" userId="e1bb11f1-fc18-4a8c-a6ff-e197300cb8d1" providerId="ADAL" clId="{3D355F57-3802-40E8-A1F1-61B8B41E18AD}" dt="2025-04-22T13:33:30.285" v="702" actId="14100"/>
          <ac:spMkLst>
            <pc:docMk/>
            <pc:sldMk cId="2260495983" sldId="1808"/>
            <ac:spMk id="10" creationId="{157B9238-C8F7-6EF9-E7F1-5D866F3F3428}"/>
          </ac:spMkLst>
        </pc:spChg>
        <pc:spChg chg="add mod">
          <ac:chgData name="牧野 充希(MAKINO Atsuki)" userId="e1bb11f1-fc18-4a8c-a6ff-e197300cb8d1" providerId="ADAL" clId="{3D355F57-3802-40E8-A1F1-61B8B41E18AD}" dt="2025-04-22T13:34:06.580" v="717" actId="14100"/>
          <ac:spMkLst>
            <pc:docMk/>
            <pc:sldMk cId="2260495983" sldId="1808"/>
            <ac:spMk id="11" creationId="{A6FEC48D-2192-B6A1-7819-F99A0FB8E3C8}"/>
          </ac:spMkLst>
        </pc:spChg>
        <pc:spChg chg="add mod">
          <ac:chgData name="牧野 充希(MAKINO Atsuki)" userId="e1bb11f1-fc18-4a8c-a6ff-e197300cb8d1" providerId="ADAL" clId="{3D355F57-3802-40E8-A1F1-61B8B41E18AD}" dt="2025-04-22T13:34:02.450" v="716" actId="1076"/>
          <ac:spMkLst>
            <pc:docMk/>
            <pc:sldMk cId="2260495983" sldId="1808"/>
            <ac:spMk id="12" creationId="{559C4F27-F4B5-2A27-74B9-383B1100DE2C}"/>
          </ac:spMkLst>
        </pc:spChg>
        <pc:spChg chg="add mod">
          <ac:chgData name="牧野 充希(MAKINO Atsuki)" userId="e1bb11f1-fc18-4a8c-a6ff-e197300cb8d1" providerId="ADAL" clId="{3D355F57-3802-40E8-A1F1-61B8B41E18AD}" dt="2025-04-22T13:34:09.614" v="718" actId="1076"/>
          <ac:spMkLst>
            <pc:docMk/>
            <pc:sldMk cId="2260495983" sldId="1808"/>
            <ac:spMk id="13" creationId="{69EA179D-135A-FAD4-A016-A9409BECFC56}"/>
          </ac:spMkLst>
        </pc:spChg>
        <pc:spChg chg="add mod">
          <ac:chgData name="牧野 充希(MAKINO Atsuki)" userId="e1bb11f1-fc18-4a8c-a6ff-e197300cb8d1" providerId="ADAL" clId="{3D355F57-3802-40E8-A1F1-61B8B41E18AD}" dt="2025-04-22T13:23:56.242" v="449"/>
          <ac:spMkLst>
            <pc:docMk/>
            <pc:sldMk cId="2260495983" sldId="1808"/>
            <ac:spMk id="14" creationId="{E1BDA46B-F95C-B35E-526E-606580E2D4E5}"/>
          </ac:spMkLst>
        </pc:spChg>
        <pc:spChg chg="add mod">
          <ac:chgData name="牧野 充希(MAKINO Atsuki)" userId="e1bb11f1-fc18-4a8c-a6ff-e197300cb8d1" providerId="ADAL" clId="{3D355F57-3802-40E8-A1F1-61B8B41E18AD}" dt="2025-04-22T13:24:03.575" v="452"/>
          <ac:spMkLst>
            <pc:docMk/>
            <pc:sldMk cId="2260495983" sldId="1808"/>
            <ac:spMk id="15" creationId="{1F155885-71BB-9310-E93B-04FF3A0A0F63}"/>
          </ac:spMkLst>
        </pc:spChg>
        <pc:spChg chg="add mod">
          <ac:chgData name="牧野 充希(MAKINO Atsuki)" userId="e1bb11f1-fc18-4a8c-a6ff-e197300cb8d1" providerId="ADAL" clId="{3D355F57-3802-40E8-A1F1-61B8B41E18AD}" dt="2025-04-22T13:24:07.817" v="453"/>
          <ac:spMkLst>
            <pc:docMk/>
            <pc:sldMk cId="2260495983" sldId="1808"/>
            <ac:spMk id="16" creationId="{2E432413-53A4-DD33-03AE-F48731557CF1}"/>
          </ac:spMkLst>
        </pc:spChg>
        <pc:spChg chg="add mod">
          <ac:chgData name="牧野 充希(MAKINO Atsuki)" userId="e1bb11f1-fc18-4a8c-a6ff-e197300cb8d1" providerId="ADAL" clId="{3D355F57-3802-40E8-A1F1-61B8B41E18AD}" dt="2025-04-22T13:34:13.429" v="719" actId="1076"/>
          <ac:spMkLst>
            <pc:docMk/>
            <pc:sldMk cId="2260495983" sldId="1808"/>
            <ac:spMk id="17" creationId="{FC97EB71-27EF-8FB7-C9AF-E605B29740FD}"/>
          </ac:spMkLst>
        </pc:spChg>
        <pc:spChg chg="add mod">
          <ac:chgData name="牧野 充希(MAKINO Atsuki)" userId="e1bb11f1-fc18-4a8c-a6ff-e197300cb8d1" providerId="ADAL" clId="{3D355F57-3802-40E8-A1F1-61B8B41E18AD}" dt="2025-04-22T13:24:15.265" v="455"/>
          <ac:spMkLst>
            <pc:docMk/>
            <pc:sldMk cId="2260495983" sldId="1808"/>
            <ac:spMk id="18" creationId="{3A226DC6-F77C-3D6E-E0CE-BCE06EE3706C}"/>
          </ac:spMkLst>
        </pc:spChg>
        <pc:graphicFrameChg chg="mod modGraphic">
          <ac:chgData name="牧野 充希(MAKINO Atsuki)" userId="e1bb11f1-fc18-4a8c-a6ff-e197300cb8d1" providerId="ADAL" clId="{3D355F57-3802-40E8-A1F1-61B8B41E18AD}" dt="2025-04-22T13:34:35.666" v="727" actId="20577"/>
          <ac:graphicFrameMkLst>
            <pc:docMk/>
            <pc:sldMk cId="2260495983" sldId="1808"/>
            <ac:graphicFrameMk id="2" creationId="{AC417C49-8970-3FBF-DACA-7F241776FB0E}"/>
          </ac:graphicFrameMkLst>
        </pc:graphicFrameChg>
      </pc:sldChg>
      <pc:sldChg chg="modSp mod">
        <pc:chgData name="牧野 充希(MAKINO Atsuki)" userId="e1bb11f1-fc18-4a8c-a6ff-e197300cb8d1" providerId="ADAL" clId="{3D355F57-3802-40E8-A1F1-61B8B41E18AD}" dt="2025-04-22T13:35:30.292" v="756" actId="20577"/>
        <pc:sldMkLst>
          <pc:docMk/>
          <pc:sldMk cId="2538732313" sldId="1809"/>
        </pc:sldMkLst>
        <pc:spChg chg="mod">
          <ac:chgData name="牧野 充希(MAKINO Atsuki)" userId="e1bb11f1-fc18-4a8c-a6ff-e197300cb8d1" providerId="ADAL" clId="{3D355F57-3802-40E8-A1F1-61B8B41E18AD}" dt="2025-04-22T13:35:30.292" v="756" actId="20577"/>
          <ac:spMkLst>
            <pc:docMk/>
            <pc:sldMk cId="2538732313" sldId="1809"/>
            <ac:spMk id="8" creationId="{D7FDF8F7-1165-88FF-2A7D-D571C1D4BFAE}"/>
          </ac:spMkLst>
        </pc:spChg>
        <pc:spChg chg="mod">
          <ac:chgData name="牧野 充希(MAKINO Atsuki)" userId="e1bb11f1-fc18-4a8c-a6ff-e197300cb8d1" providerId="ADAL" clId="{3D355F57-3802-40E8-A1F1-61B8B41E18AD}" dt="2025-04-22T13:35:00.603" v="736" actId="1076"/>
          <ac:spMkLst>
            <pc:docMk/>
            <pc:sldMk cId="2538732313" sldId="1809"/>
            <ac:spMk id="10" creationId="{E0B7F90D-41B6-9999-3DDD-7F90D5796ACB}"/>
          </ac:spMkLst>
        </pc:spChg>
        <pc:picChg chg="mod">
          <ac:chgData name="牧野 充希(MAKINO Atsuki)" userId="e1bb11f1-fc18-4a8c-a6ff-e197300cb8d1" providerId="ADAL" clId="{3D355F57-3802-40E8-A1F1-61B8B41E18AD}" dt="2025-04-22T13:35:00.603" v="736" actId="1076"/>
          <ac:picMkLst>
            <pc:docMk/>
            <pc:sldMk cId="2538732313" sldId="1809"/>
            <ac:picMk id="9" creationId="{E01DB259-E313-9794-669F-73279F11009F}"/>
          </ac:picMkLst>
        </pc:picChg>
      </pc:sldChg>
      <pc:sldChg chg="modSp mod">
        <pc:chgData name="牧野 充希(MAKINO Atsuki)" userId="e1bb11f1-fc18-4a8c-a6ff-e197300cb8d1" providerId="ADAL" clId="{3D355F57-3802-40E8-A1F1-61B8B41E18AD}" dt="2025-04-22T13:13:04.783" v="373" actId="1036"/>
        <pc:sldMkLst>
          <pc:docMk/>
          <pc:sldMk cId="4036958067" sldId="1810"/>
        </pc:sldMkLst>
        <pc:spChg chg="mod">
          <ac:chgData name="牧野 充希(MAKINO Atsuki)" userId="e1bb11f1-fc18-4a8c-a6ff-e197300cb8d1" providerId="ADAL" clId="{3D355F57-3802-40E8-A1F1-61B8B41E18AD}" dt="2025-04-22T13:13:04.783" v="373" actId="1036"/>
          <ac:spMkLst>
            <pc:docMk/>
            <pc:sldMk cId="4036958067" sldId="1810"/>
            <ac:spMk id="9" creationId="{4EF196C3-6C2F-EAEC-23CC-6D7341178A1C}"/>
          </ac:spMkLst>
        </pc:spChg>
      </pc:sldChg>
      <pc:sldChg chg="addSp delSp modSp add del mod">
        <pc:chgData name="牧野 充希(MAKINO Atsuki)" userId="e1bb11f1-fc18-4a8c-a6ff-e197300cb8d1" providerId="ADAL" clId="{3D355F57-3802-40E8-A1F1-61B8B41E18AD}" dt="2025-04-22T13:24:17.355" v="456" actId="2696"/>
        <pc:sldMkLst>
          <pc:docMk/>
          <pc:sldMk cId="1836974008" sldId="1811"/>
        </pc:sldMkLst>
        <pc:spChg chg="mod">
          <ac:chgData name="牧野 充希(MAKINO Atsuki)" userId="e1bb11f1-fc18-4a8c-a6ff-e197300cb8d1" providerId="ADAL" clId="{3D355F57-3802-40E8-A1F1-61B8B41E18AD}" dt="2025-04-22T13:13:19.188" v="390" actId="1036"/>
          <ac:spMkLst>
            <pc:docMk/>
            <pc:sldMk cId="1836974008" sldId="1811"/>
            <ac:spMk id="3" creationId="{5574DA80-DC80-8417-D3D5-9208D8C811E5}"/>
          </ac:spMkLst>
        </pc:spChg>
        <pc:spChg chg="del">
          <ac:chgData name="牧野 充希(MAKINO Atsuki)" userId="e1bb11f1-fc18-4a8c-a6ff-e197300cb8d1" providerId="ADAL" clId="{3D355F57-3802-40E8-A1F1-61B8B41E18AD}" dt="2025-04-22T13:00:48.279" v="244" actId="478"/>
          <ac:spMkLst>
            <pc:docMk/>
            <pc:sldMk cId="1836974008" sldId="1811"/>
            <ac:spMk id="4" creationId="{14406E2A-5AD1-7701-3F05-846C7E4F2E70}"/>
          </ac:spMkLst>
        </pc:spChg>
        <pc:spChg chg="add mod">
          <ac:chgData name="牧野 充希(MAKINO Atsuki)" userId="e1bb11f1-fc18-4a8c-a6ff-e197300cb8d1" providerId="ADAL" clId="{3D355F57-3802-40E8-A1F1-61B8B41E18AD}" dt="2025-04-22T12:57:52.039" v="176" actId="14100"/>
          <ac:spMkLst>
            <pc:docMk/>
            <pc:sldMk cId="1836974008" sldId="1811"/>
            <ac:spMk id="8" creationId="{18190CD3-D99E-63F7-C59F-FB33DFBFA586}"/>
          </ac:spMkLst>
        </pc:spChg>
        <pc:spChg chg="add mod">
          <ac:chgData name="牧野 充希(MAKINO Atsuki)" userId="e1bb11f1-fc18-4a8c-a6ff-e197300cb8d1" providerId="ADAL" clId="{3D355F57-3802-40E8-A1F1-61B8B41E18AD}" dt="2025-04-22T12:58:16.403" v="181" actId="14100"/>
          <ac:spMkLst>
            <pc:docMk/>
            <pc:sldMk cId="1836974008" sldId="1811"/>
            <ac:spMk id="11" creationId="{0767C3B8-2636-2BF0-9D31-8419E521B753}"/>
          </ac:spMkLst>
        </pc:spChg>
        <pc:spChg chg="add mod">
          <ac:chgData name="牧野 充希(MAKINO Atsuki)" userId="e1bb11f1-fc18-4a8c-a6ff-e197300cb8d1" providerId="ADAL" clId="{3D355F57-3802-40E8-A1F1-61B8B41E18AD}" dt="2025-04-22T12:58:24.894" v="184" actId="14100"/>
          <ac:spMkLst>
            <pc:docMk/>
            <pc:sldMk cId="1836974008" sldId="1811"/>
            <ac:spMk id="12" creationId="{0415D830-8C8C-2DB8-B234-EB520CFD2A6D}"/>
          </ac:spMkLst>
        </pc:spChg>
        <pc:spChg chg="add mod">
          <ac:chgData name="牧野 充希(MAKINO Atsuki)" userId="e1bb11f1-fc18-4a8c-a6ff-e197300cb8d1" providerId="ADAL" clId="{3D355F57-3802-40E8-A1F1-61B8B41E18AD}" dt="2025-04-22T12:58:40.476" v="189" actId="14100"/>
          <ac:spMkLst>
            <pc:docMk/>
            <pc:sldMk cId="1836974008" sldId="1811"/>
            <ac:spMk id="13" creationId="{7F07D41F-7BCD-D882-4E92-E05A10235CC8}"/>
          </ac:spMkLst>
        </pc:spChg>
        <pc:spChg chg="add mod">
          <ac:chgData name="牧野 充希(MAKINO Atsuki)" userId="e1bb11f1-fc18-4a8c-a6ff-e197300cb8d1" providerId="ADAL" clId="{3D355F57-3802-40E8-A1F1-61B8B41E18AD}" dt="2025-04-22T13:01:03.414" v="250" actId="20577"/>
          <ac:spMkLst>
            <pc:docMk/>
            <pc:sldMk cId="1836974008" sldId="1811"/>
            <ac:spMk id="14" creationId="{0A1791CE-7DF1-B81F-98B1-2927DA33A2CD}"/>
          </ac:spMkLst>
        </pc:spChg>
        <pc:spChg chg="add mod">
          <ac:chgData name="牧野 充希(MAKINO Atsuki)" userId="e1bb11f1-fc18-4a8c-a6ff-e197300cb8d1" providerId="ADAL" clId="{3D355F57-3802-40E8-A1F1-61B8B41E18AD}" dt="2025-04-22T13:01:05.618" v="251" actId="20577"/>
          <ac:spMkLst>
            <pc:docMk/>
            <pc:sldMk cId="1836974008" sldId="1811"/>
            <ac:spMk id="15" creationId="{E230DFF3-7AAF-9AE0-3257-6510974EEF80}"/>
          </ac:spMkLst>
        </pc:spChg>
        <pc:spChg chg="add mod">
          <ac:chgData name="牧野 充希(MAKINO Atsuki)" userId="e1bb11f1-fc18-4a8c-a6ff-e197300cb8d1" providerId="ADAL" clId="{3D355F57-3802-40E8-A1F1-61B8B41E18AD}" dt="2025-04-22T12:59:18.580" v="199" actId="20577"/>
          <ac:spMkLst>
            <pc:docMk/>
            <pc:sldMk cId="1836974008" sldId="1811"/>
            <ac:spMk id="16" creationId="{A1CC7718-81A3-4534-CD7F-7A8740E69955}"/>
          </ac:spMkLst>
        </pc:spChg>
        <pc:spChg chg="add mod">
          <ac:chgData name="牧野 充希(MAKINO Atsuki)" userId="e1bb11f1-fc18-4a8c-a6ff-e197300cb8d1" providerId="ADAL" clId="{3D355F57-3802-40E8-A1F1-61B8B41E18AD}" dt="2025-04-22T13:01:09.503" v="252" actId="20577"/>
          <ac:spMkLst>
            <pc:docMk/>
            <pc:sldMk cId="1836974008" sldId="1811"/>
            <ac:spMk id="17" creationId="{85387BF5-57C7-8561-911A-8EAD2BB2CCF9}"/>
          </ac:spMkLst>
        </pc:spChg>
        <pc:spChg chg="add mod">
          <ac:chgData name="牧野 充希(MAKINO Atsuki)" userId="e1bb11f1-fc18-4a8c-a6ff-e197300cb8d1" providerId="ADAL" clId="{3D355F57-3802-40E8-A1F1-61B8B41E18AD}" dt="2025-04-22T13:00:48.511" v="245"/>
          <ac:spMkLst>
            <pc:docMk/>
            <pc:sldMk cId="1836974008" sldId="1811"/>
            <ac:spMk id="18" creationId="{D74317CD-EC2F-A9D2-D497-04804CD97073}"/>
          </ac:spMkLst>
        </pc:spChg>
        <pc:graphicFrameChg chg="modGraphic">
          <ac:chgData name="牧野 充希(MAKINO Atsuki)" userId="e1bb11f1-fc18-4a8c-a6ff-e197300cb8d1" providerId="ADAL" clId="{3D355F57-3802-40E8-A1F1-61B8B41E18AD}" dt="2025-04-22T13:20:48.365" v="399" actId="20577"/>
          <ac:graphicFrameMkLst>
            <pc:docMk/>
            <pc:sldMk cId="1836974008" sldId="1811"/>
            <ac:graphicFrameMk id="2" creationId="{AC417C49-8970-3FBF-DACA-7F241776FB0E}"/>
          </ac:graphicFrameMkLst>
        </pc:graphicFrameChg>
        <pc:graphicFrameChg chg="add mod">
          <ac:chgData name="牧野 充希(MAKINO Atsuki)" userId="e1bb11f1-fc18-4a8c-a6ff-e197300cb8d1" providerId="ADAL" clId="{3D355F57-3802-40E8-A1F1-61B8B41E18AD}" dt="2025-04-22T12:57:58.887" v="177"/>
          <ac:graphicFrameMkLst>
            <pc:docMk/>
            <pc:sldMk cId="1836974008" sldId="1811"/>
            <ac:graphicFrameMk id="10" creationId="{550B9840-2E6E-D898-D993-33BF267C6BD9}"/>
          </ac:graphicFrameMkLst>
        </pc:graphicFrameChg>
      </pc:sldChg>
      <pc:sldChg chg="addSp modSp add del">
        <pc:chgData name="牧野 充希(MAKINO Atsuki)" userId="e1bb11f1-fc18-4a8c-a6ff-e197300cb8d1" providerId="ADAL" clId="{3D355F57-3802-40E8-A1F1-61B8B41E18AD}" dt="2025-04-22T12:57:31.271" v="163" actId="2696"/>
        <pc:sldMkLst>
          <pc:docMk/>
          <pc:sldMk cId="4079259579" sldId="1811"/>
        </pc:sldMkLst>
        <pc:spChg chg="add mod">
          <ac:chgData name="牧野 充希(MAKINO Atsuki)" userId="e1bb11f1-fc18-4a8c-a6ff-e197300cb8d1" providerId="ADAL" clId="{3D355F57-3802-40E8-A1F1-61B8B41E18AD}" dt="2025-04-22T12:57:17.315" v="162"/>
          <ac:spMkLst>
            <pc:docMk/>
            <pc:sldMk cId="4079259579" sldId="1811"/>
            <ac:spMk id="8" creationId="{61A9E7BC-5414-AA97-0013-D0B9C5D82DCC}"/>
          </ac:spMkLst>
        </pc:spChg>
      </pc:sldChg>
      <pc:sldChg chg="modSp add mod ord">
        <pc:chgData name="牧野 充希(MAKINO Atsuki)" userId="e1bb11f1-fc18-4a8c-a6ff-e197300cb8d1" providerId="ADAL" clId="{3D355F57-3802-40E8-A1F1-61B8B41E18AD}" dt="2025-04-22T13:34:39.703" v="735" actId="20577"/>
        <pc:sldMkLst>
          <pc:docMk/>
          <pc:sldMk cId="4267065186" sldId="1812"/>
        </pc:sldMkLst>
        <pc:graphicFrameChg chg="modGraphic">
          <ac:chgData name="牧野 充希(MAKINO Atsuki)" userId="e1bb11f1-fc18-4a8c-a6ff-e197300cb8d1" providerId="ADAL" clId="{3D355F57-3802-40E8-A1F1-61B8B41E18AD}" dt="2025-04-22T13:34:39.703" v="735" actId="20577"/>
          <ac:graphicFrameMkLst>
            <pc:docMk/>
            <pc:sldMk cId="4267065186" sldId="1812"/>
            <ac:graphicFrameMk id="2" creationId="{AC417C49-8970-3FBF-DACA-7F241776FB0E}"/>
          </ac:graphicFrameMkLst>
        </pc:graphicFrameChg>
      </pc:sldChg>
    </pc:docChg>
  </pc:docChgLst>
  <pc:docChgLst>
    <pc:chgData name="牧野 充希(MAKINO Atsuki)" userId="e1bb11f1-fc18-4a8c-a6ff-e197300cb8d1" providerId="ADAL" clId="{F7A8CBFF-2C98-4C0B-80BE-02253EEE2A33}"/>
    <pc:docChg chg="undo custSel modSld">
      <pc:chgData name="牧野 充希(MAKINO Atsuki)" userId="e1bb11f1-fc18-4a8c-a6ff-e197300cb8d1" providerId="ADAL" clId="{F7A8CBFF-2C98-4C0B-80BE-02253EEE2A33}" dt="2025-05-09T06:18:36.901" v="208" actId="1076"/>
      <pc:docMkLst>
        <pc:docMk/>
      </pc:docMkLst>
      <pc:sldChg chg="modSp mod">
        <pc:chgData name="牧野 充希(MAKINO Atsuki)" userId="e1bb11f1-fc18-4a8c-a6ff-e197300cb8d1" providerId="ADAL" clId="{F7A8CBFF-2C98-4C0B-80BE-02253EEE2A33}" dt="2025-05-09T05:46:57.799" v="10" actId="20577"/>
        <pc:sldMkLst>
          <pc:docMk/>
          <pc:sldMk cId="786981567" sldId="1800"/>
        </pc:sldMkLst>
        <pc:spChg chg="mod">
          <ac:chgData name="牧野 充希(MAKINO Atsuki)" userId="e1bb11f1-fc18-4a8c-a6ff-e197300cb8d1" providerId="ADAL" clId="{F7A8CBFF-2C98-4C0B-80BE-02253EEE2A33}" dt="2025-05-09T05:46:57.799" v="10" actId="20577"/>
          <ac:spMkLst>
            <pc:docMk/>
            <pc:sldMk cId="786981567" sldId="1800"/>
            <ac:spMk id="5" creationId="{81D1DB79-8583-A99E-540E-8CB4E3888F88}"/>
          </ac:spMkLst>
        </pc:spChg>
      </pc:sldChg>
      <pc:sldChg chg="modSp mod">
        <pc:chgData name="牧野 充希(MAKINO Atsuki)" userId="e1bb11f1-fc18-4a8c-a6ff-e197300cb8d1" providerId="ADAL" clId="{F7A8CBFF-2C98-4C0B-80BE-02253EEE2A33}" dt="2025-05-09T06:18:09.731" v="195" actId="20577"/>
        <pc:sldMkLst>
          <pc:docMk/>
          <pc:sldMk cId="1731062681" sldId="1801"/>
        </pc:sldMkLst>
        <pc:graphicFrameChg chg="mod modGraphic">
          <ac:chgData name="牧野 充希(MAKINO Atsuki)" userId="e1bb11f1-fc18-4a8c-a6ff-e197300cb8d1" providerId="ADAL" clId="{F7A8CBFF-2C98-4C0B-80BE-02253EEE2A33}" dt="2025-05-09T06:18:09.731" v="195" actId="20577"/>
          <ac:graphicFrameMkLst>
            <pc:docMk/>
            <pc:sldMk cId="1731062681" sldId="1801"/>
            <ac:graphicFrameMk id="8" creationId="{37C17ED4-31B5-BE1E-4D38-25AA300C4F1B}"/>
          </ac:graphicFrameMkLst>
        </pc:graphicFrameChg>
      </pc:sldChg>
      <pc:sldChg chg="modSp mod">
        <pc:chgData name="牧野 充希(MAKINO Atsuki)" userId="e1bb11f1-fc18-4a8c-a6ff-e197300cb8d1" providerId="ADAL" clId="{F7A8CBFF-2C98-4C0B-80BE-02253EEE2A33}" dt="2025-05-09T05:52:01.424" v="99" actId="20577"/>
        <pc:sldMkLst>
          <pc:docMk/>
          <pc:sldMk cId="3494048592" sldId="1805"/>
        </pc:sldMkLst>
        <pc:graphicFrameChg chg="mod modGraphic">
          <ac:chgData name="牧野 充希(MAKINO Atsuki)" userId="e1bb11f1-fc18-4a8c-a6ff-e197300cb8d1" providerId="ADAL" clId="{F7A8CBFF-2C98-4C0B-80BE-02253EEE2A33}" dt="2025-05-09T05:52:01.424" v="99" actId="20577"/>
          <ac:graphicFrameMkLst>
            <pc:docMk/>
            <pc:sldMk cId="3494048592" sldId="1805"/>
            <ac:graphicFrameMk id="8" creationId="{37C17ED4-31B5-BE1E-4D38-25AA300C4F1B}"/>
          </ac:graphicFrameMkLst>
        </pc:graphicFrameChg>
      </pc:sldChg>
      <pc:sldChg chg="modSp mod">
        <pc:chgData name="牧野 充希(MAKINO Atsuki)" userId="e1bb11f1-fc18-4a8c-a6ff-e197300cb8d1" providerId="ADAL" clId="{F7A8CBFF-2C98-4C0B-80BE-02253EEE2A33}" dt="2025-05-09T05:51:45.990" v="96" actId="20577"/>
        <pc:sldMkLst>
          <pc:docMk/>
          <pc:sldMk cId="1539400230" sldId="1806"/>
        </pc:sldMkLst>
        <pc:graphicFrameChg chg="mod modGraphic">
          <ac:chgData name="牧野 充希(MAKINO Atsuki)" userId="e1bb11f1-fc18-4a8c-a6ff-e197300cb8d1" providerId="ADAL" clId="{F7A8CBFF-2C98-4C0B-80BE-02253EEE2A33}" dt="2025-05-09T05:51:45.990" v="96" actId="20577"/>
          <ac:graphicFrameMkLst>
            <pc:docMk/>
            <pc:sldMk cId="1539400230" sldId="1806"/>
            <ac:graphicFrameMk id="8" creationId="{37C17ED4-31B5-BE1E-4D38-25AA300C4F1B}"/>
          </ac:graphicFrameMkLst>
        </pc:graphicFrameChg>
      </pc:sldChg>
      <pc:sldChg chg="modSp mod">
        <pc:chgData name="牧野 充希(MAKINO Atsuki)" userId="e1bb11f1-fc18-4a8c-a6ff-e197300cb8d1" providerId="ADAL" clId="{F7A8CBFF-2C98-4C0B-80BE-02253EEE2A33}" dt="2025-05-09T05:52:39.468" v="124"/>
        <pc:sldMkLst>
          <pc:docMk/>
          <pc:sldMk cId="2260495983" sldId="1808"/>
        </pc:sldMkLst>
        <pc:graphicFrameChg chg="mod modGraphic">
          <ac:chgData name="牧野 充希(MAKINO Atsuki)" userId="e1bb11f1-fc18-4a8c-a6ff-e197300cb8d1" providerId="ADAL" clId="{F7A8CBFF-2C98-4C0B-80BE-02253EEE2A33}" dt="2025-05-09T05:52:39.468" v="124"/>
          <ac:graphicFrameMkLst>
            <pc:docMk/>
            <pc:sldMk cId="2260495983" sldId="1808"/>
            <ac:graphicFrameMk id="2" creationId="{AC417C49-8970-3FBF-DACA-7F241776FB0E}"/>
          </ac:graphicFrameMkLst>
        </pc:graphicFrameChg>
      </pc:sldChg>
      <pc:sldChg chg="modSp mod">
        <pc:chgData name="牧野 充希(MAKINO Atsuki)" userId="e1bb11f1-fc18-4a8c-a6ff-e197300cb8d1" providerId="ADAL" clId="{F7A8CBFF-2C98-4C0B-80BE-02253EEE2A33}" dt="2025-05-09T06:18:36.901" v="208" actId="1076"/>
        <pc:sldMkLst>
          <pc:docMk/>
          <pc:sldMk cId="4036958067" sldId="1810"/>
        </pc:sldMkLst>
        <pc:spChg chg="mod">
          <ac:chgData name="牧野 充希(MAKINO Atsuki)" userId="e1bb11f1-fc18-4a8c-a6ff-e197300cb8d1" providerId="ADAL" clId="{F7A8CBFF-2C98-4C0B-80BE-02253EEE2A33}" dt="2025-05-09T06:18:36.901" v="208" actId="1076"/>
          <ac:spMkLst>
            <pc:docMk/>
            <pc:sldMk cId="4036958067" sldId="1810"/>
            <ac:spMk id="13" creationId="{340947B3-F05D-517A-FFD9-7826CA92BDAC}"/>
          </ac:spMkLst>
        </pc:spChg>
        <pc:graphicFrameChg chg="mod modGraphic">
          <ac:chgData name="牧野 充希(MAKINO Atsuki)" userId="e1bb11f1-fc18-4a8c-a6ff-e197300cb8d1" providerId="ADAL" clId="{F7A8CBFF-2C98-4C0B-80BE-02253EEE2A33}" dt="2025-05-09T06:18:15.976" v="206" actId="20577"/>
          <ac:graphicFrameMkLst>
            <pc:docMk/>
            <pc:sldMk cId="4036958067" sldId="1810"/>
            <ac:graphicFrameMk id="8" creationId="{37C17ED4-31B5-BE1E-4D38-25AA300C4F1B}"/>
          </ac:graphicFrameMkLst>
        </pc:graphicFrameChg>
      </pc:sldChg>
      <pc:sldChg chg="modSp mod">
        <pc:chgData name="牧野 充希(MAKINO Atsuki)" userId="e1bb11f1-fc18-4a8c-a6ff-e197300cb8d1" providerId="ADAL" clId="{F7A8CBFF-2C98-4C0B-80BE-02253EEE2A33}" dt="2025-05-09T05:52:25.141" v="123" actId="20577"/>
        <pc:sldMkLst>
          <pc:docMk/>
          <pc:sldMk cId="4267065186" sldId="1812"/>
        </pc:sldMkLst>
        <pc:graphicFrameChg chg="modGraphic">
          <ac:chgData name="牧野 充希(MAKINO Atsuki)" userId="e1bb11f1-fc18-4a8c-a6ff-e197300cb8d1" providerId="ADAL" clId="{F7A8CBFF-2C98-4C0B-80BE-02253EEE2A33}" dt="2025-05-09T05:52:25.141" v="123" actId="20577"/>
          <ac:graphicFrameMkLst>
            <pc:docMk/>
            <pc:sldMk cId="4267065186" sldId="1812"/>
            <ac:graphicFrameMk id="2" creationId="{AC417C49-8970-3FBF-DACA-7F241776FB0E}"/>
          </ac:graphicFrameMkLst>
        </pc:graphicFrameChg>
      </pc:sldChg>
    </pc:docChg>
  </pc:docChgLst>
  <pc:docChgLst>
    <pc:chgData name="西村 笙平(NISHIMURA Shohei)" userId="d08d2c33-9814-43fe-9d7b-ea3e5d006c86" providerId="ADAL" clId="{9C74C3F1-FD87-46E1-93A6-4137E9CDD8EF}"/>
    <pc:docChg chg="undo custSel delSld modSld modSection">
      <pc:chgData name="西村 笙平(NISHIMURA Shohei)" userId="d08d2c33-9814-43fe-9d7b-ea3e5d006c86" providerId="ADAL" clId="{9C74C3F1-FD87-46E1-93A6-4137E9CDD8EF}" dt="2025-04-15T10:21:43.012" v="141" actId="20577"/>
      <pc:docMkLst>
        <pc:docMk/>
      </pc:docMkLst>
      <pc:sldChg chg="modSp mod">
        <pc:chgData name="西村 笙平(NISHIMURA Shohei)" userId="d08d2c33-9814-43fe-9d7b-ea3e5d006c86" providerId="ADAL" clId="{9C74C3F1-FD87-46E1-93A6-4137E9CDD8EF}" dt="2025-04-15T09:14:30.703" v="30" actId="20577"/>
        <pc:sldMkLst>
          <pc:docMk/>
          <pc:sldMk cId="1731062681" sldId="1801"/>
        </pc:sldMkLst>
        <pc:graphicFrameChg chg="mod modGraphic">
          <ac:chgData name="西村 笙平(NISHIMURA Shohei)" userId="d08d2c33-9814-43fe-9d7b-ea3e5d006c86" providerId="ADAL" clId="{9C74C3F1-FD87-46E1-93A6-4137E9CDD8EF}" dt="2025-04-15T09:14:30.703" v="30" actId="20577"/>
          <ac:graphicFrameMkLst>
            <pc:docMk/>
            <pc:sldMk cId="1731062681" sldId="1801"/>
            <ac:graphicFrameMk id="8" creationId="{37C17ED4-31B5-BE1E-4D38-25AA300C4F1B}"/>
          </ac:graphicFrameMkLst>
        </pc:graphicFrameChg>
      </pc:sldChg>
      <pc:sldChg chg="addSp delSp modSp mod">
        <pc:chgData name="西村 笙平(NISHIMURA Shohei)" userId="d08d2c33-9814-43fe-9d7b-ea3e5d006c86" providerId="ADAL" clId="{9C74C3F1-FD87-46E1-93A6-4137E9CDD8EF}" dt="2025-04-15T09:15:41.077" v="39"/>
        <pc:sldMkLst>
          <pc:docMk/>
          <pc:sldMk cId="2174853723" sldId="1802"/>
        </pc:sldMkLst>
        <pc:spChg chg="mod">
          <ac:chgData name="西村 笙平(NISHIMURA Shohei)" userId="d08d2c33-9814-43fe-9d7b-ea3e5d006c86" providerId="ADAL" clId="{9C74C3F1-FD87-46E1-93A6-4137E9CDD8EF}" dt="2025-04-15T09:15:24.425" v="37" actId="14100"/>
          <ac:spMkLst>
            <pc:docMk/>
            <pc:sldMk cId="2174853723" sldId="1802"/>
            <ac:spMk id="7" creationId="{3FB4849D-60FC-271F-FD2C-2270B52FDA46}"/>
          </ac:spMkLst>
        </pc:spChg>
        <pc:spChg chg="mod">
          <ac:chgData name="西村 笙平(NISHIMURA Shohei)" userId="d08d2c33-9814-43fe-9d7b-ea3e5d006c86" providerId="ADAL" clId="{9C74C3F1-FD87-46E1-93A6-4137E9CDD8EF}" dt="2025-04-15T09:15:20.657" v="36" actId="14100"/>
          <ac:spMkLst>
            <pc:docMk/>
            <pc:sldMk cId="2174853723" sldId="1802"/>
            <ac:spMk id="11" creationId="{6BE75387-9B28-51BA-42FE-14811FC58A67}"/>
          </ac:spMkLst>
        </pc:spChg>
        <pc:spChg chg="add mod">
          <ac:chgData name="西村 笙平(NISHIMURA Shohei)" userId="d08d2c33-9814-43fe-9d7b-ea3e5d006c86" providerId="ADAL" clId="{9C74C3F1-FD87-46E1-93A6-4137E9CDD8EF}" dt="2025-04-15T09:15:41.077" v="39"/>
          <ac:spMkLst>
            <pc:docMk/>
            <pc:sldMk cId="2174853723" sldId="1802"/>
            <ac:spMk id="18" creationId="{9236A2A0-CE6D-D17F-57E3-863197B51618}"/>
          </ac:spMkLst>
        </pc:spChg>
        <pc:spChg chg="del">
          <ac:chgData name="西村 笙平(NISHIMURA Shohei)" userId="d08d2c33-9814-43fe-9d7b-ea3e5d006c86" providerId="ADAL" clId="{9C74C3F1-FD87-46E1-93A6-4137E9CDD8EF}" dt="2025-04-15T09:15:40.872" v="38" actId="478"/>
          <ac:spMkLst>
            <pc:docMk/>
            <pc:sldMk cId="2174853723" sldId="1802"/>
            <ac:spMk id="23" creationId="{E4C1C023-A7F7-8307-3383-F4CAF1FF2658}"/>
          </ac:spMkLst>
        </pc:spChg>
        <pc:graphicFrameChg chg="del">
          <ac:chgData name="西村 笙平(NISHIMURA Shohei)" userId="d08d2c33-9814-43fe-9d7b-ea3e5d006c86" providerId="ADAL" clId="{9C74C3F1-FD87-46E1-93A6-4137E9CDD8EF}" dt="2025-04-15T09:15:05.562" v="32" actId="478"/>
          <ac:graphicFrameMkLst>
            <pc:docMk/>
            <pc:sldMk cId="2174853723" sldId="1802"/>
            <ac:graphicFrameMk id="16" creationId="{4328BA06-C622-B011-947E-DCBE5C9ECD51}"/>
          </ac:graphicFrameMkLst>
        </pc:graphicFrameChg>
        <pc:graphicFrameChg chg="add mod ord">
          <ac:chgData name="西村 笙平(NISHIMURA Shohei)" userId="d08d2c33-9814-43fe-9d7b-ea3e5d006c86" providerId="ADAL" clId="{9C74C3F1-FD87-46E1-93A6-4137E9CDD8EF}" dt="2025-04-15T09:15:13.741" v="35" actId="167"/>
          <ac:graphicFrameMkLst>
            <pc:docMk/>
            <pc:sldMk cId="2174853723" sldId="1802"/>
            <ac:graphicFrameMk id="17" creationId="{2C6DE5AE-C239-F570-9EBA-D1B3EBDF7224}"/>
          </ac:graphicFrameMkLst>
        </pc:graphicFrameChg>
      </pc:sldChg>
      <pc:sldChg chg="modSp mod">
        <pc:chgData name="西村 笙平(NISHIMURA Shohei)" userId="d08d2c33-9814-43fe-9d7b-ea3e5d006c86" providerId="ADAL" clId="{9C74C3F1-FD87-46E1-93A6-4137E9CDD8EF}" dt="2025-04-15T09:18:37.605" v="127" actId="1076"/>
        <pc:sldMkLst>
          <pc:docMk/>
          <pc:sldMk cId="4155459258" sldId="1803"/>
        </pc:sldMkLst>
        <pc:spChg chg="mod">
          <ac:chgData name="西村 笙平(NISHIMURA Shohei)" userId="d08d2c33-9814-43fe-9d7b-ea3e5d006c86" providerId="ADAL" clId="{9C74C3F1-FD87-46E1-93A6-4137E9CDD8EF}" dt="2025-04-15T09:18:37.605" v="127" actId="1076"/>
          <ac:spMkLst>
            <pc:docMk/>
            <pc:sldMk cId="4155459258" sldId="1803"/>
            <ac:spMk id="8" creationId="{D7FDF8F7-1165-88FF-2A7D-D571C1D4BFAE}"/>
          </ac:spMkLst>
        </pc:spChg>
        <pc:spChg chg="mod">
          <ac:chgData name="西村 笙平(NISHIMURA Shohei)" userId="d08d2c33-9814-43fe-9d7b-ea3e5d006c86" providerId="ADAL" clId="{9C74C3F1-FD87-46E1-93A6-4137E9CDD8EF}" dt="2025-04-15T09:18:22.095" v="126" actId="1036"/>
          <ac:spMkLst>
            <pc:docMk/>
            <pc:sldMk cId="4155459258" sldId="1803"/>
            <ac:spMk id="12" creationId="{9C579815-7452-6922-211C-0C151841D94C}"/>
          </ac:spMkLst>
        </pc:spChg>
        <pc:picChg chg="mod">
          <ac:chgData name="西村 笙平(NISHIMURA Shohei)" userId="d08d2c33-9814-43fe-9d7b-ea3e5d006c86" providerId="ADAL" clId="{9C74C3F1-FD87-46E1-93A6-4137E9CDD8EF}" dt="2025-04-15T09:18:22.095" v="126" actId="1036"/>
          <ac:picMkLst>
            <pc:docMk/>
            <pc:sldMk cId="4155459258" sldId="1803"/>
            <ac:picMk id="10" creationId="{5DDFAABF-5844-7CF2-427C-9DEFCE9C4A31}"/>
          </ac:picMkLst>
        </pc:picChg>
      </pc:sldChg>
      <pc:sldChg chg="modSp mod">
        <pc:chgData name="西村 笙平(NISHIMURA Shohei)" userId="d08d2c33-9814-43fe-9d7b-ea3e5d006c86" providerId="ADAL" clId="{9C74C3F1-FD87-46E1-93A6-4137E9CDD8EF}" dt="2025-04-15T10:21:29.467" v="135" actId="20577"/>
        <pc:sldMkLst>
          <pc:docMk/>
          <pc:sldMk cId="3494048592" sldId="1805"/>
        </pc:sldMkLst>
        <pc:graphicFrameChg chg="modGraphic">
          <ac:chgData name="西村 笙平(NISHIMURA Shohei)" userId="d08d2c33-9814-43fe-9d7b-ea3e5d006c86" providerId="ADAL" clId="{9C74C3F1-FD87-46E1-93A6-4137E9CDD8EF}" dt="2025-04-15T10:21:29.467" v="135" actId="20577"/>
          <ac:graphicFrameMkLst>
            <pc:docMk/>
            <pc:sldMk cId="3494048592" sldId="1805"/>
            <ac:graphicFrameMk id="8" creationId="{37C17ED4-31B5-BE1E-4D38-25AA300C4F1B}"/>
          </ac:graphicFrameMkLst>
        </pc:graphicFrameChg>
      </pc:sldChg>
      <pc:sldChg chg="modSp mod">
        <pc:chgData name="西村 笙平(NISHIMURA Shohei)" userId="d08d2c33-9814-43fe-9d7b-ea3e5d006c86" providerId="ADAL" clId="{9C74C3F1-FD87-46E1-93A6-4137E9CDD8EF}" dt="2025-04-15T10:21:34.645" v="138" actId="20577"/>
        <pc:sldMkLst>
          <pc:docMk/>
          <pc:sldMk cId="1539400230" sldId="1806"/>
        </pc:sldMkLst>
        <pc:graphicFrameChg chg="modGraphic">
          <ac:chgData name="西村 笙平(NISHIMURA Shohei)" userId="d08d2c33-9814-43fe-9d7b-ea3e5d006c86" providerId="ADAL" clId="{9C74C3F1-FD87-46E1-93A6-4137E9CDD8EF}" dt="2025-04-15T10:21:34.645" v="138" actId="20577"/>
          <ac:graphicFrameMkLst>
            <pc:docMk/>
            <pc:sldMk cId="1539400230" sldId="1806"/>
            <ac:graphicFrameMk id="8" creationId="{37C17ED4-31B5-BE1E-4D38-25AA300C4F1B}"/>
          </ac:graphicFrameMkLst>
        </pc:graphicFrameChg>
      </pc:sldChg>
      <pc:sldChg chg="modSp mod">
        <pc:chgData name="西村 笙平(NISHIMURA Shohei)" userId="d08d2c33-9814-43fe-9d7b-ea3e5d006c86" providerId="ADAL" clId="{9C74C3F1-FD87-46E1-93A6-4137E9CDD8EF}" dt="2025-04-15T10:21:43.012" v="141" actId="20577"/>
        <pc:sldMkLst>
          <pc:docMk/>
          <pc:sldMk cId="2260495983" sldId="1808"/>
        </pc:sldMkLst>
        <pc:graphicFrameChg chg="modGraphic">
          <ac:chgData name="西村 笙平(NISHIMURA Shohei)" userId="d08d2c33-9814-43fe-9d7b-ea3e5d006c86" providerId="ADAL" clId="{9C74C3F1-FD87-46E1-93A6-4137E9CDD8EF}" dt="2025-04-15T10:21:43.012" v="141" actId="20577"/>
          <ac:graphicFrameMkLst>
            <pc:docMk/>
            <pc:sldMk cId="2260495983" sldId="1808"/>
            <ac:graphicFrameMk id="2" creationId="{AC417C49-8970-3FBF-DACA-7F241776FB0E}"/>
          </ac:graphicFrameMkLst>
        </pc:graphicFrameChg>
      </pc:sldChg>
      <pc:sldChg chg="del">
        <pc:chgData name="西村 笙平(NISHIMURA Shohei)" userId="d08d2c33-9814-43fe-9d7b-ea3e5d006c86" providerId="ADAL" clId="{9C74C3F1-FD87-46E1-93A6-4137E9CDD8EF}" dt="2025-04-15T09:14:54.078" v="31" actId="47"/>
        <pc:sldMkLst>
          <pc:docMk/>
          <pc:sldMk cId="239995315" sldId="1810"/>
        </pc:sldMkLst>
      </pc:sldChg>
    </pc:docChg>
  </pc:docChgLst>
  <pc:docChgLst>
    <pc:chgData name="牧野 充希(MAKINO Atsuki)" userId="e1bb11f1-fc18-4a8c-a6ff-e197300cb8d1" providerId="ADAL" clId="{35C470DA-8BB2-479D-B2BD-283560908224}"/>
    <pc:docChg chg="undo redo custSel addSld delSld modSld modSection">
      <pc:chgData name="牧野 充希(MAKINO Atsuki)" userId="e1bb11f1-fc18-4a8c-a6ff-e197300cb8d1" providerId="ADAL" clId="{35C470DA-8BB2-479D-B2BD-283560908224}" dt="2025-04-22T03:33:48.184" v="2707" actId="20577"/>
      <pc:docMkLst>
        <pc:docMk/>
      </pc:docMkLst>
      <pc:sldChg chg="addSp delSp modSp mod">
        <pc:chgData name="牧野 充希(MAKINO Atsuki)" userId="e1bb11f1-fc18-4a8c-a6ff-e197300cb8d1" providerId="ADAL" clId="{35C470DA-8BB2-479D-B2BD-283560908224}" dt="2025-04-22T03:32:11.463" v="2677"/>
        <pc:sldMkLst>
          <pc:docMk/>
          <pc:sldMk cId="1927059807" sldId="1764"/>
        </pc:sldMkLst>
        <pc:spChg chg="mod">
          <ac:chgData name="牧野 充希(MAKINO Atsuki)" userId="e1bb11f1-fc18-4a8c-a6ff-e197300cb8d1" providerId="ADAL" clId="{35C470DA-8BB2-479D-B2BD-283560908224}" dt="2025-04-22T03:23:34.422" v="2635"/>
          <ac:spMkLst>
            <pc:docMk/>
            <pc:sldMk cId="1927059807" sldId="1764"/>
            <ac:spMk id="5" creationId="{BE7313C8-2F30-4CC0-A171-28A0CD336245}"/>
          </ac:spMkLst>
        </pc:spChg>
        <pc:spChg chg="add mod">
          <ac:chgData name="牧野 充希(MAKINO Atsuki)" userId="e1bb11f1-fc18-4a8c-a6ff-e197300cb8d1" providerId="ADAL" clId="{35C470DA-8BB2-479D-B2BD-283560908224}" dt="2025-04-22T03:32:11.463" v="2677"/>
          <ac:spMkLst>
            <pc:docMk/>
            <pc:sldMk cId="1927059807" sldId="1764"/>
            <ac:spMk id="8" creationId="{0A726A9F-62DB-1559-DBA9-911AD8E9F380}"/>
          </ac:spMkLst>
        </pc:spChg>
        <pc:spChg chg="del">
          <ac:chgData name="牧野 充希(MAKINO Atsuki)" userId="e1bb11f1-fc18-4a8c-a6ff-e197300cb8d1" providerId="ADAL" clId="{35C470DA-8BB2-479D-B2BD-283560908224}" dt="2025-04-21T05:33:31.728" v="1841" actId="478"/>
          <ac:spMkLst>
            <pc:docMk/>
            <pc:sldMk cId="1927059807" sldId="1764"/>
            <ac:spMk id="8" creationId="{A76E9A10-E5F7-2133-0C6B-CD464D80CBA2}"/>
          </ac:spMkLst>
        </pc:spChg>
        <pc:spChg chg="add mod">
          <ac:chgData name="牧野 充希(MAKINO Atsuki)" userId="e1bb11f1-fc18-4a8c-a6ff-e197300cb8d1" providerId="ADAL" clId="{35C470DA-8BB2-479D-B2BD-283560908224}" dt="2025-04-21T05:33:31.995" v="1842"/>
          <ac:spMkLst>
            <pc:docMk/>
            <pc:sldMk cId="1927059807" sldId="1764"/>
            <ac:spMk id="9" creationId="{0455CBB7-689F-7050-CCE4-2E47186925B0}"/>
          </ac:spMkLst>
        </pc:spChg>
        <pc:spChg chg="del">
          <ac:chgData name="牧野 充希(MAKINO Atsuki)" userId="e1bb11f1-fc18-4a8c-a6ff-e197300cb8d1" providerId="ADAL" clId="{35C470DA-8BB2-479D-B2BD-283560908224}" dt="2025-04-22T03:22:03.533" v="2628" actId="478"/>
          <ac:spMkLst>
            <pc:docMk/>
            <pc:sldMk cId="1927059807" sldId="1764"/>
            <ac:spMk id="18" creationId="{045734C6-2283-9884-2A64-78EFE34E5FB9}"/>
          </ac:spMkLst>
        </pc:spChg>
        <pc:spChg chg="del">
          <ac:chgData name="牧野 充希(MAKINO Atsuki)" userId="e1bb11f1-fc18-4a8c-a6ff-e197300cb8d1" providerId="ADAL" clId="{35C470DA-8BB2-479D-B2BD-283560908224}" dt="2025-04-22T03:21:59.486" v="2625" actId="478"/>
          <ac:spMkLst>
            <pc:docMk/>
            <pc:sldMk cId="1927059807" sldId="1764"/>
            <ac:spMk id="19" creationId="{F2A5B345-2BF3-1306-C701-19C71A83B96A}"/>
          </ac:spMkLst>
        </pc:spChg>
        <pc:spChg chg="del">
          <ac:chgData name="牧野 充希(MAKINO Atsuki)" userId="e1bb11f1-fc18-4a8c-a6ff-e197300cb8d1" providerId="ADAL" clId="{35C470DA-8BB2-479D-B2BD-283560908224}" dt="2025-04-22T03:21:57.885" v="2624" actId="478"/>
          <ac:spMkLst>
            <pc:docMk/>
            <pc:sldMk cId="1927059807" sldId="1764"/>
            <ac:spMk id="20" creationId="{AECE5947-1C78-2429-919A-413FBEEA6117}"/>
          </ac:spMkLst>
        </pc:spChg>
        <pc:spChg chg="del">
          <ac:chgData name="牧野 充希(MAKINO Atsuki)" userId="e1bb11f1-fc18-4a8c-a6ff-e197300cb8d1" providerId="ADAL" clId="{35C470DA-8BB2-479D-B2BD-283560908224}" dt="2025-04-22T03:21:56.504" v="2623" actId="478"/>
          <ac:spMkLst>
            <pc:docMk/>
            <pc:sldMk cId="1927059807" sldId="1764"/>
            <ac:spMk id="21" creationId="{433C4577-EA22-DB12-2E98-B02340DD7E76}"/>
          </ac:spMkLst>
        </pc:spChg>
        <pc:spChg chg="del">
          <ac:chgData name="牧野 充希(MAKINO Atsuki)" userId="e1bb11f1-fc18-4a8c-a6ff-e197300cb8d1" providerId="ADAL" clId="{35C470DA-8BB2-479D-B2BD-283560908224}" dt="2025-04-22T03:22:07.285" v="2629" actId="478"/>
          <ac:spMkLst>
            <pc:docMk/>
            <pc:sldMk cId="1927059807" sldId="1764"/>
            <ac:spMk id="22" creationId="{C56F6036-4194-C0F0-1124-3DBD87517BE3}"/>
          </ac:spMkLst>
        </pc:spChg>
        <pc:spChg chg="del">
          <ac:chgData name="牧野 充希(MAKINO Atsuki)" userId="e1bb11f1-fc18-4a8c-a6ff-e197300cb8d1" providerId="ADAL" clId="{35C470DA-8BB2-479D-B2BD-283560908224}" dt="2025-04-22T03:22:02.142" v="2627" actId="478"/>
          <ac:spMkLst>
            <pc:docMk/>
            <pc:sldMk cId="1927059807" sldId="1764"/>
            <ac:spMk id="24" creationId="{B1EF62F9-0177-A64D-9A4E-DA41BDFB47CF}"/>
          </ac:spMkLst>
        </pc:spChg>
        <pc:spChg chg="del mod">
          <ac:chgData name="牧野 充希(MAKINO Atsuki)" userId="e1bb11f1-fc18-4a8c-a6ff-e197300cb8d1" providerId="ADAL" clId="{35C470DA-8BB2-479D-B2BD-283560908224}" dt="2025-04-22T03:32:11.227" v="2676" actId="478"/>
          <ac:spMkLst>
            <pc:docMk/>
            <pc:sldMk cId="1927059807" sldId="1764"/>
            <ac:spMk id="25" creationId="{DB86792E-95F0-D2F1-E0C2-4C19F620CE9F}"/>
          </ac:spMkLst>
        </pc:spChg>
        <pc:graphicFrameChg chg="mod modGraphic">
          <ac:chgData name="牧野 充希(MAKINO Atsuki)" userId="e1bb11f1-fc18-4a8c-a6ff-e197300cb8d1" providerId="ADAL" clId="{35C470DA-8BB2-479D-B2BD-283560908224}" dt="2025-04-22T03:22:55.218" v="2632" actId="20577"/>
          <ac:graphicFrameMkLst>
            <pc:docMk/>
            <pc:sldMk cId="1927059807" sldId="1764"/>
            <ac:graphicFrameMk id="2" creationId="{AC417C49-8970-3FBF-DACA-7F241776FB0E}"/>
          </ac:graphicFrameMkLst>
        </pc:graphicFrameChg>
        <pc:picChg chg="del">
          <ac:chgData name="牧野 充希(MAKINO Atsuki)" userId="e1bb11f1-fc18-4a8c-a6ff-e197300cb8d1" providerId="ADAL" clId="{35C470DA-8BB2-479D-B2BD-283560908224}" dt="2025-04-22T03:22:00.883" v="2626" actId="478"/>
          <ac:picMkLst>
            <pc:docMk/>
            <pc:sldMk cId="1927059807" sldId="1764"/>
            <ac:picMk id="23" creationId="{CF654636-9E94-03B7-4FA2-9A3708A0B7D1}"/>
          </ac:picMkLst>
        </pc:picChg>
      </pc:sldChg>
      <pc:sldChg chg="delSp modSp mod">
        <pc:chgData name="牧野 充希(MAKINO Atsuki)" userId="e1bb11f1-fc18-4a8c-a6ff-e197300cb8d1" providerId="ADAL" clId="{35C470DA-8BB2-479D-B2BD-283560908224}" dt="2025-04-21T05:32:20.489" v="1790" actId="20577"/>
        <pc:sldMkLst>
          <pc:docMk/>
          <pc:sldMk cId="786981567" sldId="1800"/>
        </pc:sldMkLst>
        <pc:spChg chg="del">
          <ac:chgData name="牧野 充希(MAKINO Atsuki)" userId="e1bb11f1-fc18-4a8c-a6ff-e197300cb8d1" providerId="ADAL" clId="{35C470DA-8BB2-479D-B2BD-283560908224}" dt="2025-04-18T12:51:58.280" v="857" actId="478"/>
          <ac:spMkLst>
            <pc:docMk/>
            <pc:sldMk cId="786981567" sldId="1800"/>
            <ac:spMk id="3" creationId="{13CF5F74-B0CC-0804-84B5-AA312627120F}"/>
          </ac:spMkLst>
        </pc:spChg>
        <pc:spChg chg="mod">
          <ac:chgData name="牧野 充希(MAKINO Atsuki)" userId="e1bb11f1-fc18-4a8c-a6ff-e197300cb8d1" providerId="ADAL" clId="{35C470DA-8BB2-479D-B2BD-283560908224}" dt="2025-04-21T05:32:20.489" v="1790" actId="20577"/>
          <ac:spMkLst>
            <pc:docMk/>
            <pc:sldMk cId="786981567" sldId="1800"/>
            <ac:spMk id="5" creationId="{81D1DB79-8583-A99E-540E-8CB4E3888F88}"/>
          </ac:spMkLst>
        </pc:spChg>
      </pc:sldChg>
      <pc:sldChg chg="modSp mod">
        <pc:chgData name="牧野 充希(MAKINO Atsuki)" userId="e1bb11f1-fc18-4a8c-a6ff-e197300cb8d1" providerId="ADAL" clId="{35C470DA-8BB2-479D-B2BD-283560908224}" dt="2025-04-22T03:31:13.524" v="2667" actId="20577"/>
        <pc:sldMkLst>
          <pc:docMk/>
          <pc:sldMk cId="1731062681" sldId="1801"/>
        </pc:sldMkLst>
        <pc:graphicFrameChg chg="mod modGraphic">
          <ac:chgData name="牧野 充希(MAKINO Atsuki)" userId="e1bb11f1-fc18-4a8c-a6ff-e197300cb8d1" providerId="ADAL" clId="{35C470DA-8BB2-479D-B2BD-283560908224}" dt="2025-04-22T03:31:13.524" v="2667" actId="20577"/>
          <ac:graphicFrameMkLst>
            <pc:docMk/>
            <pc:sldMk cId="1731062681" sldId="1801"/>
            <ac:graphicFrameMk id="8" creationId="{37C17ED4-31B5-BE1E-4D38-25AA300C4F1B}"/>
          </ac:graphicFrameMkLst>
        </pc:graphicFrameChg>
      </pc:sldChg>
      <pc:sldChg chg="addSp modSp del mod">
        <pc:chgData name="牧野 充希(MAKINO Atsuki)" userId="e1bb11f1-fc18-4a8c-a6ff-e197300cb8d1" providerId="ADAL" clId="{35C470DA-8BB2-479D-B2BD-283560908224}" dt="2025-04-21T05:38:33.897" v="1919" actId="2696"/>
        <pc:sldMkLst>
          <pc:docMk/>
          <pc:sldMk cId="2174853723" sldId="1802"/>
        </pc:sldMkLst>
        <pc:spChg chg="mod">
          <ac:chgData name="牧野 充希(MAKINO Atsuki)" userId="e1bb11f1-fc18-4a8c-a6ff-e197300cb8d1" providerId="ADAL" clId="{35C470DA-8BB2-479D-B2BD-283560908224}" dt="2025-04-21T05:37:16.850" v="1904" actId="1076"/>
          <ac:spMkLst>
            <pc:docMk/>
            <pc:sldMk cId="2174853723" sldId="1802"/>
            <ac:spMk id="3" creationId="{C8A3523E-49B5-64AD-925C-2E71989F6FC8}"/>
          </ac:spMkLst>
        </pc:spChg>
        <pc:spChg chg="add mod">
          <ac:chgData name="牧野 充希(MAKINO Atsuki)" userId="e1bb11f1-fc18-4a8c-a6ff-e197300cb8d1" providerId="ADAL" clId="{35C470DA-8BB2-479D-B2BD-283560908224}" dt="2025-04-21T05:38:02.453" v="1913"/>
          <ac:spMkLst>
            <pc:docMk/>
            <pc:sldMk cId="2174853723" sldId="1802"/>
            <ac:spMk id="16" creationId="{5860E7EC-17E9-D736-B20E-9D5BBB7D8EBE}"/>
          </ac:spMkLst>
        </pc:spChg>
      </pc:sldChg>
      <pc:sldChg chg="modSp mod">
        <pc:chgData name="牧野 充希(MAKINO Atsuki)" userId="e1bb11f1-fc18-4a8c-a6ff-e197300cb8d1" providerId="ADAL" clId="{35C470DA-8BB2-479D-B2BD-283560908224}" dt="2025-04-22T02:35:22.686" v="2538" actId="1036"/>
        <pc:sldMkLst>
          <pc:docMk/>
          <pc:sldMk cId="4155459258" sldId="1803"/>
        </pc:sldMkLst>
        <pc:spChg chg="mod">
          <ac:chgData name="牧野 充希(MAKINO Atsuki)" userId="e1bb11f1-fc18-4a8c-a6ff-e197300cb8d1" providerId="ADAL" clId="{35C470DA-8BB2-479D-B2BD-283560908224}" dt="2025-04-22T02:35:18.663" v="2532" actId="1036"/>
          <ac:spMkLst>
            <pc:docMk/>
            <pc:sldMk cId="4155459258" sldId="1803"/>
            <ac:spMk id="8" creationId="{D7FDF8F7-1165-88FF-2A7D-D571C1D4BFAE}"/>
          </ac:spMkLst>
        </pc:spChg>
        <pc:spChg chg="mod">
          <ac:chgData name="牧野 充希(MAKINO Atsuki)" userId="e1bb11f1-fc18-4a8c-a6ff-e197300cb8d1" providerId="ADAL" clId="{35C470DA-8BB2-479D-B2BD-283560908224}" dt="2025-04-22T02:35:22.686" v="2538" actId="1036"/>
          <ac:spMkLst>
            <pc:docMk/>
            <pc:sldMk cId="4155459258" sldId="1803"/>
            <ac:spMk id="12" creationId="{9C579815-7452-6922-211C-0C151841D94C}"/>
          </ac:spMkLst>
        </pc:spChg>
        <pc:picChg chg="mod">
          <ac:chgData name="牧野 充希(MAKINO Atsuki)" userId="e1bb11f1-fc18-4a8c-a6ff-e197300cb8d1" providerId="ADAL" clId="{35C470DA-8BB2-479D-B2BD-283560908224}" dt="2025-04-22T02:35:18.663" v="2532" actId="1036"/>
          <ac:picMkLst>
            <pc:docMk/>
            <pc:sldMk cId="4155459258" sldId="1803"/>
            <ac:picMk id="10" creationId="{5DDFAABF-5844-7CF2-427C-9DEFCE9C4A31}"/>
          </ac:picMkLst>
        </pc:picChg>
      </pc:sldChg>
      <pc:sldChg chg="modSp mod">
        <pc:chgData name="牧野 充希(MAKINO Atsuki)" userId="e1bb11f1-fc18-4a8c-a6ff-e197300cb8d1" providerId="ADAL" clId="{35C470DA-8BB2-479D-B2BD-283560908224}" dt="2025-04-22T03:30:20.838" v="2663" actId="20577"/>
        <pc:sldMkLst>
          <pc:docMk/>
          <pc:sldMk cId="3494048592" sldId="1805"/>
        </pc:sldMkLst>
        <pc:spChg chg="mod">
          <ac:chgData name="牧野 充希(MAKINO Atsuki)" userId="e1bb11f1-fc18-4a8c-a6ff-e197300cb8d1" providerId="ADAL" clId="{35C470DA-8BB2-479D-B2BD-283560908224}" dt="2025-04-21T05:33:03.432" v="1824" actId="1038"/>
          <ac:spMkLst>
            <pc:docMk/>
            <pc:sldMk cId="3494048592" sldId="1805"/>
            <ac:spMk id="10" creationId="{35543A15-5B1D-8CB3-2CC6-E1EA7F2D4B43}"/>
          </ac:spMkLst>
        </pc:spChg>
        <pc:graphicFrameChg chg="mod modGraphic">
          <ac:chgData name="牧野 充希(MAKINO Atsuki)" userId="e1bb11f1-fc18-4a8c-a6ff-e197300cb8d1" providerId="ADAL" clId="{35C470DA-8BB2-479D-B2BD-283560908224}" dt="2025-04-22T03:30:20.838" v="2663" actId="20577"/>
          <ac:graphicFrameMkLst>
            <pc:docMk/>
            <pc:sldMk cId="3494048592" sldId="1805"/>
            <ac:graphicFrameMk id="8" creationId="{37C17ED4-31B5-BE1E-4D38-25AA300C4F1B}"/>
          </ac:graphicFrameMkLst>
        </pc:graphicFrameChg>
      </pc:sldChg>
      <pc:sldChg chg="addSp delSp modSp mod">
        <pc:chgData name="牧野 充希(MAKINO Atsuki)" userId="e1bb11f1-fc18-4a8c-a6ff-e197300cb8d1" providerId="ADAL" clId="{35C470DA-8BB2-479D-B2BD-283560908224}" dt="2025-04-22T03:33:48.184" v="2707" actId="20577"/>
        <pc:sldMkLst>
          <pc:docMk/>
          <pc:sldMk cId="1539400230" sldId="1806"/>
        </pc:sldMkLst>
        <pc:spChg chg="mod">
          <ac:chgData name="牧野 充希(MAKINO Atsuki)" userId="e1bb11f1-fc18-4a8c-a6ff-e197300cb8d1" providerId="ADAL" clId="{35C470DA-8BB2-479D-B2BD-283560908224}" dt="2025-04-22T03:32:04.807" v="2675" actId="1076"/>
          <ac:spMkLst>
            <pc:docMk/>
            <pc:sldMk cId="1539400230" sldId="1806"/>
            <ac:spMk id="2" creationId="{7848149B-D4FA-B760-5D11-F1A5E4E7DF97}"/>
          </ac:spMkLst>
        </pc:spChg>
        <pc:spChg chg="del">
          <ac:chgData name="牧野 充希(MAKINO Atsuki)" userId="e1bb11f1-fc18-4a8c-a6ff-e197300cb8d1" providerId="ADAL" clId="{35C470DA-8BB2-479D-B2BD-283560908224}" dt="2025-04-21T05:33:09.527" v="1825" actId="478"/>
          <ac:spMkLst>
            <pc:docMk/>
            <pc:sldMk cId="1539400230" sldId="1806"/>
            <ac:spMk id="10" creationId="{35543A15-5B1D-8CB3-2CC6-E1EA7F2D4B43}"/>
          </ac:spMkLst>
        </pc:spChg>
        <pc:spChg chg="mod">
          <ac:chgData name="牧野 充希(MAKINO Atsuki)" userId="e1bb11f1-fc18-4a8c-a6ff-e197300cb8d1" providerId="ADAL" clId="{35C470DA-8BB2-479D-B2BD-283560908224}" dt="2025-04-22T03:33:42.449" v="2702" actId="20577"/>
          <ac:spMkLst>
            <pc:docMk/>
            <pc:sldMk cId="1539400230" sldId="1806"/>
            <ac:spMk id="12" creationId="{54A400CD-FBE6-BD20-3941-04BB166A55AB}"/>
          </ac:spMkLst>
        </pc:spChg>
        <pc:spChg chg="mod">
          <ac:chgData name="牧野 充希(MAKINO Atsuki)" userId="e1bb11f1-fc18-4a8c-a6ff-e197300cb8d1" providerId="ADAL" clId="{35C470DA-8BB2-479D-B2BD-283560908224}" dt="2025-04-22T03:33:43.595" v="2703" actId="20577"/>
          <ac:spMkLst>
            <pc:docMk/>
            <pc:sldMk cId="1539400230" sldId="1806"/>
            <ac:spMk id="13" creationId="{E337FF87-CDFB-2557-A7CD-69F4779D6DF2}"/>
          </ac:spMkLst>
        </pc:spChg>
        <pc:spChg chg="add del mod">
          <ac:chgData name="牧野 充希(MAKINO Atsuki)" userId="e1bb11f1-fc18-4a8c-a6ff-e197300cb8d1" providerId="ADAL" clId="{35C470DA-8BB2-479D-B2BD-283560908224}" dt="2025-04-22T03:33:47.196" v="2706" actId="20577"/>
          <ac:spMkLst>
            <pc:docMk/>
            <pc:sldMk cId="1539400230" sldId="1806"/>
            <ac:spMk id="14" creationId="{335D6C43-1401-4A58-26FF-C604454F13FF}"/>
          </ac:spMkLst>
        </pc:spChg>
        <pc:spChg chg="add mod">
          <ac:chgData name="牧野 充希(MAKINO Atsuki)" userId="e1bb11f1-fc18-4a8c-a6ff-e197300cb8d1" providerId="ADAL" clId="{35C470DA-8BB2-479D-B2BD-283560908224}" dt="2025-04-21T05:33:09.779" v="1826"/>
          <ac:spMkLst>
            <pc:docMk/>
            <pc:sldMk cId="1539400230" sldId="1806"/>
            <ac:spMk id="15" creationId="{C5F075E2-7332-766F-8FA3-BD6D4A460ED7}"/>
          </ac:spMkLst>
        </pc:spChg>
        <pc:spChg chg="mod">
          <ac:chgData name="牧野 充希(MAKINO Atsuki)" userId="e1bb11f1-fc18-4a8c-a6ff-e197300cb8d1" providerId="ADAL" clId="{35C470DA-8BB2-479D-B2BD-283560908224}" dt="2025-04-22T03:33:48.184" v="2707" actId="20577"/>
          <ac:spMkLst>
            <pc:docMk/>
            <pc:sldMk cId="1539400230" sldId="1806"/>
            <ac:spMk id="16" creationId="{5CCDF56A-7F17-7705-D560-EFADB4C3FC8E}"/>
          </ac:spMkLst>
        </pc:spChg>
        <pc:spChg chg="add del">
          <ac:chgData name="牧野 充希(MAKINO Atsuki)" userId="e1bb11f1-fc18-4a8c-a6ff-e197300cb8d1" providerId="ADAL" clId="{35C470DA-8BB2-479D-B2BD-283560908224}" dt="2025-04-22T03:17:12.250" v="2558" actId="478"/>
          <ac:spMkLst>
            <pc:docMk/>
            <pc:sldMk cId="1539400230" sldId="1806"/>
            <ac:spMk id="21" creationId="{1CE48F07-2263-E2AB-D2E2-821FF0157F73}"/>
          </ac:spMkLst>
        </pc:spChg>
        <pc:spChg chg="add del">
          <ac:chgData name="牧野 充希(MAKINO Atsuki)" userId="e1bb11f1-fc18-4a8c-a6ff-e197300cb8d1" providerId="ADAL" clId="{35C470DA-8BB2-479D-B2BD-283560908224}" dt="2025-04-22T03:17:13.442" v="2559" actId="478"/>
          <ac:spMkLst>
            <pc:docMk/>
            <pc:sldMk cId="1539400230" sldId="1806"/>
            <ac:spMk id="25" creationId="{6E42A63F-2890-CD55-BF86-10D64ABE91F0}"/>
          </ac:spMkLst>
        </pc:spChg>
        <pc:spChg chg="add del">
          <ac:chgData name="牧野 充希(MAKINO Atsuki)" userId="e1bb11f1-fc18-4a8c-a6ff-e197300cb8d1" providerId="ADAL" clId="{35C470DA-8BB2-479D-B2BD-283560908224}" dt="2025-04-22T03:17:14.070" v="2560" actId="478"/>
          <ac:spMkLst>
            <pc:docMk/>
            <pc:sldMk cId="1539400230" sldId="1806"/>
            <ac:spMk id="26" creationId="{358BB655-A14C-7663-3C69-9F73E05F490B}"/>
          </ac:spMkLst>
        </pc:spChg>
        <pc:spChg chg="del">
          <ac:chgData name="牧野 充希(MAKINO Atsuki)" userId="e1bb11f1-fc18-4a8c-a6ff-e197300cb8d1" providerId="ADAL" clId="{35C470DA-8BB2-479D-B2BD-283560908224}" dt="2025-04-22T03:17:15.420" v="2561" actId="478"/>
          <ac:spMkLst>
            <pc:docMk/>
            <pc:sldMk cId="1539400230" sldId="1806"/>
            <ac:spMk id="28" creationId="{D0A09A31-B145-CE29-6B63-3AE0379CE7ED}"/>
          </ac:spMkLst>
        </pc:spChg>
        <pc:spChg chg="del">
          <ac:chgData name="牧野 充希(MAKINO Atsuki)" userId="e1bb11f1-fc18-4a8c-a6ff-e197300cb8d1" providerId="ADAL" clId="{35C470DA-8BB2-479D-B2BD-283560908224}" dt="2025-04-22T03:17:21.058" v="2563" actId="478"/>
          <ac:spMkLst>
            <pc:docMk/>
            <pc:sldMk cId="1539400230" sldId="1806"/>
            <ac:spMk id="29" creationId="{CA3E06D2-4A37-348E-9738-03B25F84A234}"/>
          </ac:spMkLst>
        </pc:spChg>
        <pc:graphicFrameChg chg="mod modGraphic">
          <ac:chgData name="牧野 充希(MAKINO Atsuki)" userId="e1bb11f1-fc18-4a8c-a6ff-e197300cb8d1" providerId="ADAL" clId="{35C470DA-8BB2-479D-B2BD-283560908224}" dt="2025-04-22T03:26:36.705" v="2637" actId="20577"/>
          <ac:graphicFrameMkLst>
            <pc:docMk/>
            <pc:sldMk cId="1539400230" sldId="1806"/>
            <ac:graphicFrameMk id="8" creationId="{37C17ED4-31B5-BE1E-4D38-25AA300C4F1B}"/>
          </ac:graphicFrameMkLst>
        </pc:graphicFrameChg>
        <pc:graphicFrameChg chg="add del">
          <ac:chgData name="牧野 充希(MAKINO Atsuki)" userId="e1bb11f1-fc18-4a8c-a6ff-e197300cb8d1" providerId="ADAL" clId="{35C470DA-8BB2-479D-B2BD-283560908224}" dt="2025-04-22T03:17:16.267" v="2562" actId="478"/>
          <ac:graphicFrameMkLst>
            <pc:docMk/>
            <pc:sldMk cId="1539400230" sldId="1806"/>
            <ac:graphicFrameMk id="27" creationId="{5854502F-3CF4-C0E0-573D-8CEB2F7A9B1F}"/>
          </ac:graphicFrameMkLst>
        </pc:graphicFrameChg>
      </pc:sldChg>
      <pc:sldChg chg="addSp delSp modSp mod">
        <pc:chgData name="牧野 充希(MAKINO Atsuki)" userId="e1bb11f1-fc18-4a8c-a6ff-e197300cb8d1" providerId="ADAL" clId="{35C470DA-8BB2-479D-B2BD-283560908224}" dt="2025-04-22T03:21:22.878" v="2622" actId="20577"/>
        <pc:sldMkLst>
          <pc:docMk/>
          <pc:sldMk cId="3361803510" sldId="1807"/>
        </pc:sldMkLst>
        <pc:spChg chg="del">
          <ac:chgData name="牧野 充希(MAKINO Atsuki)" userId="e1bb11f1-fc18-4a8c-a6ff-e197300cb8d1" providerId="ADAL" clId="{35C470DA-8BB2-479D-B2BD-283560908224}" dt="2025-04-21T05:33:14.943" v="1827" actId="478"/>
          <ac:spMkLst>
            <pc:docMk/>
            <pc:sldMk cId="3361803510" sldId="1807"/>
            <ac:spMk id="3" creationId="{992659FA-9BCC-7BE8-66D6-564C9B321D15}"/>
          </ac:spMkLst>
        </pc:spChg>
        <pc:spChg chg="add mod">
          <ac:chgData name="牧野 充希(MAKINO Atsuki)" userId="e1bb11f1-fc18-4a8c-a6ff-e197300cb8d1" providerId="ADAL" clId="{35C470DA-8BB2-479D-B2BD-283560908224}" dt="2025-04-21T05:33:15.194" v="1828"/>
          <ac:spMkLst>
            <pc:docMk/>
            <pc:sldMk cId="3361803510" sldId="1807"/>
            <ac:spMk id="4" creationId="{46D89142-794A-1C69-7B9D-A6954B332BED}"/>
          </ac:spMkLst>
        </pc:spChg>
        <pc:spChg chg="mod">
          <ac:chgData name="牧野 充希(MAKINO Atsuki)" userId="e1bb11f1-fc18-4a8c-a6ff-e197300cb8d1" providerId="ADAL" clId="{35C470DA-8BB2-479D-B2BD-283560908224}" dt="2025-04-22T03:21:22.878" v="2622" actId="20577"/>
          <ac:spMkLst>
            <pc:docMk/>
            <pc:sldMk cId="3361803510" sldId="1807"/>
            <ac:spMk id="8" creationId="{D7FDF8F7-1165-88FF-2A7D-D571C1D4BFAE}"/>
          </ac:spMkLst>
        </pc:spChg>
      </pc:sldChg>
      <pc:sldChg chg="addSp delSp modSp mod">
        <pc:chgData name="牧野 充希(MAKINO Atsuki)" userId="e1bb11f1-fc18-4a8c-a6ff-e197300cb8d1" providerId="ADAL" clId="{35C470DA-8BB2-479D-B2BD-283560908224}" dt="2025-04-22T03:23:31.412" v="2634" actId="1076"/>
        <pc:sldMkLst>
          <pc:docMk/>
          <pc:sldMk cId="2260495983" sldId="1808"/>
        </pc:sldMkLst>
        <pc:spChg chg="mod">
          <ac:chgData name="牧野 充希(MAKINO Atsuki)" userId="e1bb11f1-fc18-4a8c-a6ff-e197300cb8d1" providerId="ADAL" clId="{35C470DA-8BB2-479D-B2BD-283560908224}" dt="2025-04-22T03:23:31.412" v="2634" actId="1076"/>
          <ac:spMkLst>
            <pc:docMk/>
            <pc:sldMk cId="2260495983" sldId="1808"/>
            <ac:spMk id="4" creationId="{14406E2A-5AD1-7701-3F05-846C7E4F2E70}"/>
          </ac:spMkLst>
        </pc:spChg>
        <pc:spChg chg="mod">
          <ac:chgData name="牧野 充希(MAKINO Atsuki)" userId="e1bb11f1-fc18-4a8c-a6ff-e197300cb8d1" providerId="ADAL" clId="{35C470DA-8BB2-479D-B2BD-283560908224}" dt="2025-04-22T03:23:28.048" v="2633"/>
          <ac:spMkLst>
            <pc:docMk/>
            <pc:sldMk cId="2260495983" sldId="1808"/>
            <ac:spMk id="5" creationId="{BE7313C8-2F30-4CC0-A171-28A0CD336245}"/>
          </ac:spMkLst>
        </pc:spChg>
        <pc:spChg chg="del">
          <ac:chgData name="牧野 充希(MAKINO Atsuki)" userId="e1bb11f1-fc18-4a8c-a6ff-e197300cb8d1" providerId="ADAL" clId="{35C470DA-8BB2-479D-B2BD-283560908224}" dt="2025-04-21T05:33:22.996" v="1829" actId="478"/>
          <ac:spMkLst>
            <pc:docMk/>
            <pc:sldMk cId="2260495983" sldId="1808"/>
            <ac:spMk id="8" creationId="{A76E9A10-E5F7-2133-0C6B-CD464D80CBA2}"/>
          </ac:spMkLst>
        </pc:spChg>
        <pc:spChg chg="add mod">
          <ac:chgData name="牧野 充希(MAKINO Atsuki)" userId="e1bb11f1-fc18-4a8c-a6ff-e197300cb8d1" providerId="ADAL" clId="{35C470DA-8BB2-479D-B2BD-283560908224}" dt="2025-04-21T05:33:26.403" v="1840" actId="20577"/>
          <ac:spMkLst>
            <pc:docMk/>
            <pc:sldMk cId="2260495983" sldId="1808"/>
            <ac:spMk id="9" creationId="{D4562A9B-C477-BA42-D1FF-B61BF4C1BE52}"/>
          </ac:spMkLst>
        </pc:spChg>
        <pc:graphicFrameChg chg="mod modGraphic">
          <ac:chgData name="牧野 充希(MAKINO Atsuki)" userId="e1bb11f1-fc18-4a8c-a6ff-e197300cb8d1" providerId="ADAL" clId="{35C470DA-8BB2-479D-B2BD-283560908224}" dt="2025-04-22T03:20:52.804" v="2610"/>
          <ac:graphicFrameMkLst>
            <pc:docMk/>
            <pc:sldMk cId="2260495983" sldId="1808"/>
            <ac:graphicFrameMk id="2" creationId="{AC417C49-8970-3FBF-DACA-7F241776FB0E}"/>
          </ac:graphicFrameMkLst>
        </pc:graphicFrameChg>
      </pc:sldChg>
      <pc:sldChg chg="addSp delSp modSp mod">
        <pc:chgData name="牧野 充希(MAKINO Atsuki)" userId="e1bb11f1-fc18-4a8c-a6ff-e197300cb8d1" providerId="ADAL" clId="{35C470DA-8BB2-479D-B2BD-283560908224}" dt="2025-04-22T03:21:05.069" v="2614"/>
        <pc:sldMkLst>
          <pc:docMk/>
          <pc:sldMk cId="2538732313" sldId="1809"/>
        </pc:sldMkLst>
        <pc:spChg chg="add mod">
          <ac:chgData name="牧野 充希(MAKINO Atsuki)" userId="e1bb11f1-fc18-4a8c-a6ff-e197300cb8d1" providerId="ADAL" clId="{35C470DA-8BB2-479D-B2BD-283560908224}" dt="2025-04-21T05:33:36.326" v="1844"/>
          <ac:spMkLst>
            <pc:docMk/>
            <pc:sldMk cId="2538732313" sldId="1809"/>
            <ac:spMk id="3" creationId="{AD7D05FE-EB06-CABF-3A71-2F35A962C383}"/>
          </ac:spMkLst>
        </pc:spChg>
        <pc:spChg chg="mod">
          <ac:chgData name="牧野 充希(MAKINO Atsuki)" userId="e1bb11f1-fc18-4a8c-a6ff-e197300cb8d1" providerId="ADAL" clId="{35C470DA-8BB2-479D-B2BD-283560908224}" dt="2025-04-22T03:21:05.069" v="2614"/>
          <ac:spMkLst>
            <pc:docMk/>
            <pc:sldMk cId="2538732313" sldId="1809"/>
            <ac:spMk id="8" creationId="{D7FDF8F7-1165-88FF-2A7D-D571C1D4BFAE}"/>
          </ac:spMkLst>
        </pc:spChg>
        <pc:spChg chg="del">
          <ac:chgData name="牧野 充希(MAKINO Atsuki)" userId="e1bb11f1-fc18-4a8c-a6ff-e197300cb8d1" providerId="ADAL" clId="{35C470DA-8BB2-479D-B2BD-283560908224}" dt="2025-04-21T05:33:36.102" v="1843" actId="478"/>
          <ac:spMkLst>
            <pc:docMk/>
            <pc:sldMk cId="2538732313" sldId="1809"/>
            <ac:spMk id="12" creationId="{F4B5D129-9A3E-7018-EF66-BABC8407D440}"/>
          </ac:spMkLst>
        </pc:spChg>
      </pc:sldChg>
      <pc:sldChg chg="addSp modSp add del mod">
        <pc:chgData name="牧野 充希(MAKINO Atsuki)" userId="e1bb11f1-fc18-4a8c-a6ff-e197300cb8d1" providerId="ADAL" clId="{35C470DA-8BB2-479D-B2BD-283560908224}" dt="2025-04-21T05:39:02.001" v="1920" actId="2696"/>
        <pc:sldMkLst>
          <pc:docMk/>
          <pc:sldMk cId="896103148" sldId="1810"/>
        </pc:sldMkLst>
        <pc:spChg chg="add mod">
          <ac:chgData name="牧野 充希(MAKINO Atsuki)" userId="e1bb11f1-fc18-4a8c-a6ff-e197300cb8d1" providerId="ADAL" clId="{35C470DA-8BB2-479D-B2BD-283560908224}" dt="2025-04-21T05:37:26.453" v="1906" actId="1076"/>
          <ac:spMkLst>
            <pc:docMk/>
            <pc:sldMk cId="896103148" sldId="1810"/>
            <ac:spMk id="2" creationId="{A87F003C-025A-310D-6910-89632D11BA41}"/>
          </ac:spMkLst>
        </pc:spChg>
        <pc:spChg chg="add mod">
          <ac:chgData name="牧野 充希(MAKINO Atsuki)" userId="e1bb11f1-fc18-4a8c-a6ff-e197300cb8d1" providerId="ADAL" clId="{35C470DA-8BB2-479D-B2BD-283560908224}" dt="2025-04-21T05:37:30.950" v="1907"/>
          <ac:spMkLst>
            <pc:docMk/>
            <pc:sldMk cId="896103148" sldId="1810"/>
            <ac:spMk id="3" creationId="{A058C6C7-DD6A-03A6-B337-3EF4164BE601}"/>
          </ac:spMkLst>
        </pc:spChg>
        <pc:spChg chg="add mod">
          <ac:chgData name="牧野 充希(MAKINO Atsuki)" userId="e1bb11f1-fc18-4a8c-a6ff-e197300cb8d1" providerId="ADAL" clId="{35C470DA-8BB2-479D-B2BD-283560908224}" dt="2025-04-21T05:37:47.115" v="1909" actId="14100"/>
          <ac:spMkLst>
            <pc:docMk/>
            <pc:sldMk cId="896103148" sldId="1810"/>
            <ac:spMk id="4" creationId="{DC030EA6-A826-31F5-D6CB-4A55BBC06F0D}"/>
          </ac:spMkLst>
        </pc:spChg>
        <pc:spChg chg="add mod">
          <ac:chgData name="牧野 充希(MAKINO Atsuki)" userId="e1bb11f1-fc18-4a8c-a6ff-e197300cb8d1" providerId="ADAL" clId="{35C470DA-8BB2-479D-B2BD-283560908224}" dt="2025-04-21T05:37:52.958" v="1911" actId="14100"/>
          <ac:spMkLst>
            <pc:docMk/>
            <pc:sldMk cId="896103148" sldId="1810"/>
            <ac:spMk id="7" creationId="{4CBFC462-3509-6DB1-FD00-0B8F4FC3FFBE}"/>
          </ac:spMkLst>
        </pc:spChg>
        <pc:spChg chg="add mod">
          <ac:chgData name="牧野 充希(MAKINO Atsuki)" userId="e1bb11f1-fc18-4a8c-a6ff-e197300cb8d1" providerId="ADAL" clId="{35C470DA-8BB2-479D-B2BD-283560908224}" dt="2025-04-21T05:37:58.571" v="1912"/>
          <ac:spMkLst>
            <pc:docMk/>
            <pc:sldMk cId="896103148" sldId="1810"/>
            <ac:spMk id="10" creationId="{09353F1E-9FB3-5EDC-384C-DDCE7D983F98}"/>
          </ac:spMkLst>
        </pc:spChg>
        <pc:spChg chg="add mod">
          <ac:chgData name="牧野 充希(MAKINO Atsuki)" userId="e1bb11f1-fc18-4a8c-a6ff-e197300cb8d1" providerId="ADAL" clId="{35C470DA-8BB2-479D-B2BD-283560908224}" dt="2025-04-21T05:38:06.804" v="1914"/>
          <ac:spMkLst>
            <pc:docMk/>
            <pc:sldMk cId="896103148" sldId="1810"/>
            <ac:spMk id="11" creationId="{B0EB2136-4B80-3E1D-0A59-AB104F19EEFA}"/>
          </ac:spMkLst>
        </pc:spChg>
        <pc:spChg chg="add mod">
          <ac:chgData name="牧野 充希(MAKINO Atsuki)" userId="e1bb11f1-fc18-4a8c-a6ff-e197300cb8d1" providerId="ADAL" clId="{35C470DA-8BB2-479D-B2BD-283560908224}" dt="2025-04-21T05:38:11.719" v="1915"/>
          <ac:spMkLst>
            <pc:docMk/>
            <pc:sldMk cId="896103148" sldId="1810"/>
            <ac:spMk id="12" creationId="{6D136239-7279-C0A1-CFF6-424DC88DDF4C}"/>
          </ac:spMkLst>
        </pc:spChg>
        <pc:spChg chg="add mod">
          <ac:chgData name="牧野 充希(MAKINO Atsuki)" userId="e1bb11f1-fc18-4a8c-a6ff-e197300cb8d1" providerId="ADAL" clId="{35C470DA-8BB2-479D-B2BD-283560908224}" dt="2025-04-21T05:38:15.285" v="1916"/>
          <ac:spMkLst>
            <pc:docMk/>
            <pc:sldMk cId="896103148" sldId="1810"/>
            <ac:spMk id="13" creationId="{BA282211-1FAF-07CB-71DB-7C01A386891E}"/>
          </ac:spMkLst>
        </pc:spChg>
        <pc:spChg chg="add mod">
          <ac:chgData name="牧野 充希(MAKINO Atsuki)" userId="e1bb11f1-fc18-4a8c-a6ff-e197300cb8d1" providerId="ADAL" clId="{35C470DA-8BB2-479D-B2BD-283560908224}" dt="2025-04-21T05:38:20.155" v="1917"/>
          <ac:spMkLst>
            <pc:docMk/>
            <pc:sldMk cId="896103148" sldId="1810"/>
            <ac:spMk id="14" creationId="{AB5A89DB-B16B-422F-7347-577E6C067480}"/>
          </ac:spMkLst>
        </pc:spChg>
        <pc:spChg chg="add mod">
          <ac:chgData name="牧野 充希(MAKINO Atsuki)" userId="e1bb11f1-fc18-4a8c-a6ff-e197300cb8d1" providerId="ADAL" clId="{35C470DA-8BB2-479D-B2BD-283560908224}" dt="2025-04-21T05:38:30.050" v="1918"/>
          <ac:spMkLst>
            <pc:docMk/>
            <pc:sldMk cId="896103148" sldId="1810"/>
            <ac:spMk id="15" creationId="{0BC7258B-0A7B-2760-B8A6-297BD5365F47}"/>
          </ac:spMkLst>
        </pc:spChg>
        <pc:spChg chg="add mod">
          <ac:chgData name="牧野 充希(MAKINO Atsuki)" userId="e1bb11f1-fc18-4a8c-a6ff-e197300cb8d1" providerId="ADAL" clId="{35C470DA-8BB2-479D-B2BD-283560908224}" dt="2025-04-21T05:38:30.050" v="1918"/>
          <ac:spMkLst>
            <pc:docMk/>
            <pc:sldMk cId="896103148" sldId="1810"/>
            <ac:spMk id="16" creationId="{EC926E78-163C-E8D6-2065-B0FC84F6E145}"/>
          </ac:spMkLst>
        </pc:spChg>
        <pc:spChg chg="add mod">
          <ac:chgData name="牧野 充希(MAKINO Atsuki)" userId="e1bb11f1-fc18-4a8c-a6ff-e197300cb8d1" providerId="ADAL" clId="{35C470DA-8BB2-479D-B2BD-283560908224}" dt="2025-04-21T05:38:30.050" v="1918"/>
          <ac:spMkLst>
            <pc:docMk/>
            <pc:sldMk cId="896103148" sldId="1810"/>
            <ac:spMk id="17" creationId="{4AC2CE2A-B336-62CB-3EFD-3683427E4F98}"/>
          </ac:spMkLst>
        </pc:spChg>
        <pc:spChg chg="add mod">
          <ac:chgData name="牧野 充希(MAKINO Atsuki)" userId="e1bb11f1-fc18-4a8c-a6ff-e197300cb8d1" providerId="ADAL" clId="{35C470DA-8BB2-479D-B2BD-283560908224}" dt="2025-04-21T05:38:30.050" v="1918"/>
          <ac:spMkLst>
            <pc:docMk/>
            <pc:sldMk cId="896103148" sldId="1810"/>
            <ac:spMk id="18" creationId="{A431933D-96EE-C465-60D6-71B42C7EDAEB}"/>
          </ac:spMkLst>
        </pc:spChg>
        <pc:spChg chg="add mod">
          <ac:chgData name="牧野 充希(MAKINO Atsuki)" userId="e1bb11f1-fc18-4a8c-a6ff-e197300cb8d1" providerId="ADAL" clId="{35C470DA-8BB2-479D-B2BD-283560908224}" dt="2025-04-21T05:38:30.050" v="1918"/>
          <ac:spMkLst>
            <pc:docMk/>
            <pc:sldMk cId="896103148" sldId="1810"/>
            <ac:spMk id="19" creationId="{E426B21A-FB29-EBCF-79B3-04D0607D9E3A}"/>
          </ac:spMkLst>
        </pc:spChg>
        <pc:spChg chg="add mod">
          <ac:chgData name="牧野 充希(MAKINO Atsuki)" userId="e1bb11f1-fc18-4a8c-a6ff-e197300cb8d1" providerId="ADAL" clId="{35C470DA-8BB2-479D-B2BD-283560908224}" dt="2025-04-21T05:38:30.050" v="1918"/>
          <ac:spMkLst>
            <pc:docMk/>
            <pc:sldMk cId="896103148" sldId="1810"/>
            <ac:spMk id="20" creationId="{DFB04316-FC82-45F0-6232-A5C73339FAD1}"/>
          </ac:spMkLst>
        </pc:spChg>
        <pc:spChg chg="add mod">
          <ac:chgData name="牧野 充希(MAKINO Atsuki)" userId="e1bb11f1-fc18-4a8c-a6ff-e197300cb8d1" providerId="ADAL" clId="{35C470DA-8BB2-479D-B2BD-283560908224}" dt="2025-04-21T05:38:30.050" v="1918"/>
          <ac:spMkLst>
            <pc:docMk/>
            <pc:sldMk cId="896103148" sldId="1810"/>
            <ac:spMk id="22" creationId="{0CC5D9BD-3F68-22F7-D411-6C8F7F7A420C}"/>
          </ac:spMkLst>
        </pc:spChg>
        <pc:picChg chg="add mod">
          <ac:chgData name="牧野 充希(MAKINO Atsuki)" userId="e1bb11f1-fc18-4a8c-a6ff-e197300cb8d1" providerId="ADAL" clId="{35C470DA-8BB2-479D-B2BD-283560908224}" dt="2025-04-21T05:38:30.050" v="1918"/>
          <ac:picMkLst>
            <pc:docMk/>
            <pc:sldMk cId="896103148" sldId="1810"/>
            <ac:picMk id="21" creationId="{F538E84E-C819-5E44-D00B-90059CA07457}"/>
          </ac:picMkLst>
        </pc:picChg>
      </pc:sldChg>
      <pc:sldChg chg="addSp modSp add mod">
        <pc:chgData name="牧野 充希(MAKINO Atsuki)" userId="e1bb11f1-fc18-4a8c-a6ff-e197300cb8d1" providerId="ADAL" clId="{35C470DA-8BB2-479D-B2BD-283560908224}" dt="2025-04-22T03:33:38.158" v="2701" actId="20577"/>
        <pc:sldMkLst>
          <pc:docMk/>
          <pc:sldMk cId="4036958067" sldId="1810"/>
        </pc:sldMkLst>
        <pc:spChg chg="add mod">
          <ac:chgData name="牧野 充希(MAKINO Atsuki)" userId="e1bb11f1-fc18-4a8c-a6ff-e197300cb8d1" providerId="ADAL" clId="{35C470DA-8BB2-479D-B2BD-283560908224}" dt="2025-04-22T03:32:55.831" v="2682" actId="14100"/>
          <ac:spMkLst>
            <pc:docMk/>
            <pc:sldMk cId="4036958067" sldId="1810"/>
            <ac:spMk id="2" creationId="{F5FFD9C2-A970-F8A0-7D7F-C959C590B6F2}"/>
          </ac:spMkLst>
        </pc:spChg>
        <pc:spChg chg="add mod">
          <ac:chgData name="牧野 充希(MAKINO Atsuki)" userId="e1bb11f1-fc18-4a8c-a6ff-e197300cb8d1" providerId="ADAL" clId="{35C470DA-8BB2-479D-B2BD-283560908224}" dt="2025-04-22T03:33:03.763" v="2685" actId="14100"/>
          <ac:spMkLst>
            <pc:docMk/>
            <pc:sldMk cId="4036958067" sldId="1810"/>
            <ac:spMk id="3" creationId="{DE417F91-24D6-45E2-11EA-DD88925C495F}"/>
          </ac:spMkLst>
        </pc:spChg>
        <pc:spChg chg="add mod">
          <ac:chgData name="牧野 充希(MAKINO Atsuki)" userId="e1bb11f1-fc18-4a8c-a6ff-e197300cb8d1" providerId="ADAL" clId="{35C470DA-8BB2-479D-B2BD-283560908224}" dt="2025-04-22T03:33:13.860" v="2689" actId="14100"/>
          <ac:spMkLst>
            <pc:docMk/>
            <pc:sldMk cId="4036958067" sldId="1810"/>
            <ac:spMk id="4" creationId="{595BAB98-ACD0-2FCE-88AB-7F18DB0B52E4}"/>
          </ac:spMkLst>
        </pc:spChg>
        <pc:spChg chg="add mod">
          <ac:chgData name="牧野 充希(MAKINO Atsuki)" userId="e1bb11f1-fc18-4a8c-a6ff-e197300cb8d1" providerId="ADAL" clId="{35C470DA-8BB2-479D-B2BD-283560908224}" dt="2025-04-22T03:33:11.976" v="2688" actId="14100"/>
          <ac:spMkLst>
            <pc:docMk/>
            <pc:sldMk cId="4036958067" sldId="1810"/>
            <ac:spMk id="7" creationId="{CA4E0F96-2DBC-1F8F-F4A6-5BE11A500CEB}"/>
          </ac:spMkLst>
        </pc:spChg>
        <pc:spChg chg="add mod">
          <ac:chgData name="牧野 充希(MAKINO Atsuki)" userId="e1bb11f1-fc18-4a8c-a6ff-e197300cb8d1" providerId="ADAL" clId="{35C470DA-8BB2-479D-B2BD-283560908224}" dt="2025-04-22T03:33:24.042" v="2692" actId="20577"/>
          <ac:spMkLst>
            <pc:docMk/>
            <pc:sldMk cId="4036958067" sldId="1810"/>
            <ac:spMk id="10" creationId="{0070926E-9D65-8963-AD43-1CC021F74F8C}"/>
          </ac:spMkLst>
        </pc:spChg>
        <pc:spChg chg="add mod">
          <ac:chgData name="牧野 充希(MAKINO Atsuki)" userId="e1bb11f1-fc18-4a8c-a6ff-e197300cb8d1" providerId="ADAL" clId="{35C470DA-8BB2-479D-B2BD-283560908224}" dt="2025-04-22T03:33:25.365" v="2693" actId="20577"/>
          <ac:spMkLst>
            <pc:docMk/>
            <pc:sldMk cId="4036958067" sldId="1810"/>
            <ac:spMk id="11" creationId="{3C36D468-4BBA-B295-CBB1-4592567C130F}"/>
          </ac:spMkLst>
        </pc:spChg>
        <pc:spChg chg="add mod">
          <ac:chgData name="牧野 充希(MAKINO Atsuki)" userId="e1bb11f1-fc18-4a8c-a6ff-e197300cb8d1" providerId="ADAL" clId="{35C470DA-8BB2-479D-B2BD-283560908224}" dt="2025-04-22T03:33:33.317" v="2698" actId="20577"/>
          <ac:spMkLst>
            <pc:docMk/>
            <pc:sldMk cId="4036958067" sldId="1810"/>
            <ac:spMk id="12" creationId="{3F49BE1E-6166-8D73-07FD-7ED7B5B4CEC2}"/>
          </ac:spMkLst>
        </pc:spChg>
        <pc:spChg chg="add mod">
          <ac:chgData name="牧野 充希(MAKINO Atsuki)" userId="e1bb11f1-fc18-4a8c-a6ff-e197300cb8d1" providerId="ADAL" clId="{35C470DA-8BB2-479D-B2BD-283560908224}" dt="2025-04-22T03:33:38.158" v="2701" actId="20577"/>
          <ac:spMkLst>
            <pc:docMk/>
            <pc:sldMk cId="4036958067" sldId="1810"/>
            <ac:spMk id="13" creationId="{340947B3-F05D-517A-FFD9-7826CA92BDAC}"/>
          </ac:spMkLst>
        </pc:spChg>
      </pc:sldChg>
    </pc:docChg>
  </pc:docChgLst>
  <pc:docChgLst>
    <pc:chgData name="青山 大介(AOYAMA Daisuke)" userId="62e5c414-f8d4-431e-801f-75ea3be37d37" providerId="ADAL" clId="{AA45675A-C8F9-4F33-9EC3-4396F9B69953}"/>
    <pc:docChg chg="modSld">
      <pc:chgData name="青山 大介(AOYAMA Daisuke)" userId="62e5c414-f8d4-431e-801f-75ea3be37d37" providerId="ADAL" clId="{AA45675A-C8F9-4F33-9EC3-4396F9B69953}" dt="2024-12-26T20:06:49.542" v="5" actId="1076"/>
      <pc:docMkLst>
        <pc:docMk/>
      </pc:docMkLst>
      <pc:sldChg chg="modSp mod">
        <pc:chgData name="青山 大介(AOYAMA Daisuke)" userId="62e5c414-f8d4-431e-801f-75ea3be37d37" providerId="ADAL" clId="{AA45675A-C8F9-4F33-9EC3-4396F9B69953}" dt="2024-12-26T20:06:49.542" v="5" actId="1076"/>
        <pc:sldMkLst>
          <pc:docMk/>
          <pc:sldMk cId="786981567" sldId="1800"/>
        </pc:sldMkLst>
        <pc:spChg chg="mod">
          <ac:chgData name="青山 大介(AOYAMA Daisuke)" userId="62e5c414-f8d4-431e-801f-75ea3be37d37" providerId="ADAL" clId="{AA45675A-C8F9-4F33-9EC3-4396F9B69953}" dt="2024-12-26T20:06:49.542" v="5" actId="1076"/>
          <ac:spMkLst>
            <pc:docMk/>
            <pc:sldMk cId="786981567" sldId="1800"/>
            <ac:spMk id="2" creationId="{5F2D8408-1CA6-F273-B2C3-DAE07E0C2F44}"/>
          </ac:spMkLst>
        </pc:spChg>
        <pc:spChg chg="mod">
          <ac:chgData name="青山 大介(AOYAMA Daisuke)" userId="62e5c414-f8d4-431e-801f-75ea3be37d37" providerId="ADAL" clId="{AA45675A-C8F9-4F33-9EC3-4396F9B69953}" dt="2024-12-26T20:06:35.764" v="4" actId="14100"/>
          <ac:spMkLst>
            <pc:docMk/>
            <pc:sldMk cId="786981567" sldId="1800"/>
            <ac:spMk id="3" creationId="{13CF5F74-B0CC-0804-84B5-AA312627120F}"/>
          </ac:spMkLst>
        </pc:spChg>
        <pc:spChg chg="mod">
          <ac:chgData name="青山 大介(AOYAMA Daisuke)" userId="62e5c414-f8d4-431e-801f-75ea3be37d37" providerId="ADAL" clId="{AA45675A-C8F9-4F33-9EC3-4396F9B69953}" dt="2024-12-26T20:06:20.206" v="1" actId="1076"/>
          <ac:spMkLst>
            <pc:docMk/>
            <pc:sldMk cId="786981567" sldId="1800"/>
            <ac:spMk id="4" creationId="{12809128-2959-884E-4E45-A5144B64E61E}"/>
          </ac:spMkLst>
        </pc:spChg>
      </pc:sldChg>
    </pc:docChg>
  </pc:docChgLst>
  <pc:docChgLst>
    <pc:chgData name="澤村 僚(SAWAMURA Ryo)" userId="4cfe6057-f08c-4400-b030-3b1cc012e179" providerId="ADAL" clId="{EAC640A5-805A-4767-A968-EFF0710AE39C}"/>
    <pc:docChg chg="undo custSel addSld delSld modSld sldOrd">
      <pc:chgData name="澤村 僚(SAWAMURA Ryo)" userId="4cfe6057-f08c-4400-b030-3b1cc012e179" providerId="ADAL" clId="{EAC640A5-805A-4767-A968-EFF0710AE39C}" dt="2024-04-24T17:58:27.876" v="1088" actId="2696"/>
      <pc:docMkLst>
        <pc:docMk/>
      </pc:docMkLst>
      <pc:sldChg chg="del">
        <pc:chgData name="澤村 僚(SAWAMURA Ryo)" userId="4cfe6057-f08c-4400-b030-3b1cc012e179" providerId="ADAL" clId="{EAC640A5-805A-4767-A968-EFF0710AE39C}" dt="2024-04-24T09:55:39.168" v="188" actId="47"/>
        <pc:sldMkLst>
          <pc:docMk/>
          <pc:sldMk cId="1703494022" sldId="1794"/>
        </pc:sldMkLst>
      </pc:sldChg>
      <pc:sldChg chg="addSp delSp modSp add del mod">
        <pc:chgData name="澤村 僚(SAWAMURA Ryo)" userId="4cfe6057-f08c-4400-b030-3b1cc012e179" providerId="ADAL" clId="{EAC640A5-805A-4767-A968-EFF0710AE39C}" dt="2024-04-24T17:58:17.305" v="1086" actId="2696"/>
        <pc:sldMkLst>
          <pc:docMk/>
          <pc:sldMk cId="1350526129" sldId="1796"/>
        </pc:sldMkLst>
        <pc:spChg chg="del">
          <ac:chgData name="澤村 僚(SAWAMURA Ryo)" userId="4cfe6057-f08c-4400-b030-3b1cc012e179" providerId="ADAL" clId="{EAC640A5-805A-4767-A968-EFF0710AE39C}" dt="2024-04-24T16:32:22.093" v="253" actId="478"/>
          <ac:spMkLst>
            <pc:docMk/>
            <pc:sldMk cId="1350526129" sldId="1796"/>
            <ac:spMk id="5" creationId="{6740BA51-ED12-9398-0D70-8BBF43161487}"/>
          </ac:spMkLst>
        </pc:spChg>
        <pc:spChg chg="add del mod">
          <ac:chgData name="澤村 僚(SAWAMURA Ryo)" userId="4cfe6057-f08c-4400-b030-3b1cc012e179" providerId="ADAL" clId="{EAC640A5-805A-4767-A968-EFF0710AE39C}" dt="2024-04-24T16:32:26.288" v="254" actId="478"/>
          <ac:spMkLst>
            <pc:docMk/>
            <pc:sldMk cId="1350526129" sldId="1796"/>
            <ac:spMk id="7" creationId="{53FDB7F5-98CF-7C80-283B-DD10CB385218}"/>
          </ac:spMkLst>
        </pc:spChg>
        <pc:spChg chg="add mod">
          <ac:chgData name="澤村 僚(SAWAMURA Ryo)" userId="4cfe6057-f08c-4400-b030-3b1cc012e179" providerId="ADAL" clId="{EAC640A5-805A-4767-A968-EFF0710AE39C}" dt="2024-04-24T16:32:28.119" v="255"/>
          <ac:spMkLst>
            <pc:docMk/>
            <pc:sldMk cId="1350526129" sldId="1796"/>
            <ac:spMk id="8" creationId="{28F5639B-153A-C9C6-8D71-B88513E98BDD}"/>
          </ac:spMkLst>
        </pc:spChg>
        <pc:spChg chg="add mod">
          <ac:chgData name="澤村 僚(SAWAMURA Ryo)" userId="4cfe6057-f08c-4400-b030-3b1cc012e179" providerId="ADAL" clId="{EAC640A5-805A-4767-A968-EFF0710AE39C}" dt="2024-04-24T16:32:45.481" v="266" actId="20577"/>
          <ac:spMkLst>
            <pc:docMk/>
            <pc:sldMk cId="1350526129" sldId="1796"/>
            <ac:spMk id="10" creationId="{2BAADCAC-D1F1-C3A6-984C-4F541AD45764}"/>
          </ac:spMkLst>
        </pc:spChg>
        <pc:spChg chg="add mod">
          <ac:chgData name="澤村 僚(SAWAMURA Ryo)" userId="4cfe6057-f08c-4400-b030-3b1cc012e179" providerId="ADAL" clId="{EAC640A5-805A-4767-A968-EFF0710AE39C}" dt="2024-04-24T17:15:17.281" v="873" actId="1076"/>
          <ac:spMkLst>
            <pc:docMk/>
            <pc:sldMk cId="1350526129" sldId="1796"/>
            <ac:spMk id="12" creationId="{FEF77792-B03F-F8AB-D373-EB1AD7A6FC97}"/>
          </ac:spMkLst>
        </pc:spChg>
        <pc:graphicFrameChg chg="mod modGraphic">
          <ac:chgData name="澤村 僚(SAWAMURA Ryo)" userId="4cfe6057-f08c-4400-b030-3b1cc012e179" providerId="ADAL" clId="{EAC640A5-805A-4767-A968-EFF0710AE39C}" dt="2024-04-24T17:38:29.124" v="1072" actId="20577"/>
          <ac:graphicFrameMkLst>
            <pc:docMk/>
            <pc:sldMk cId="1350526129" sldId="1796"/>
            <ac:graphicFrameMk id="3" creationId="{11C13D6C-87C3-87C3-2D96-4A1678AD8316}"/>
          </ac:graphicFrameMkLst>
        </pc:graphicFrameChg>
        <pc:graphicFrameChg chg="del mod modGraphic">
          <ac:chgData name="澤村 僚(SAWAMURA Ryo)" userId="4cfe6057-f08c-4400-b030-3b1cc012e179" providerId="ADAL" clId="{EAC640A5-805A-4767-A968-EFF0710AE39C}" dt="2024-04-24T17:37:08.193" v="1067" actId="478"/>
          <ac:graphicFrameMkLst>
            <pc:docMk/>
            <pc:sldMk cId="1350526129" sldId="1796"/>
            <ac:graphicFrameMk id="4" creationId="{B0CB6E7E-196E-F269-59D1-98DAEE96C02F}"/>
          </ac:graphicFrameMkLst>
        </pc:graphicFrameChg>
        <pc:graphicFrameChg chg="add mod">
          <ac:chgData name="澤村 僚(SAWAMURA Ryo)" userId="4cfe6057-f08c-4400-b030-3b1cc012e179" providerId="ADAL" clId="{EAC640A5-805A-4767-A968-EFF0710AE39C}" dt="2024-04-24T17:37:18.431" v="1068"/>
          <ac:graphicFrameMkLst>
            <pc:docMk/>
            <pc:sldMk cId="1350526129" sldId="1796"/>
            <ac:graphicFrameMk id="13" creationId="{93224450-9876-480F-2E9B-FE60805529A4}"/>
          </ac:graphicFrameMkLst>
        </pc:graphicFrameChg>
        <pc:picChg chg="del">
          <ac:chgData name="澤村 僚(SAWAMURA Ryo)" userId="4cfe6057-f08c-4400-b030-3b1cc012e179" providerId="ADAL" clId="{EAC640A5-805A-4767-A968-EFF0710AE39C}" dt="2024-04-24T16:12:26.610" v="198" actId="478"/>
          <ac:picMkLst>
            <pc:docMk/>
            <pc:sldMk cId="1350526129" sldId="1796"/>
            <ac:picMk id="9" creationId="{474C1F0E-626D-10C1-5911-BCF40655E7D1}"/>
          </ac:picMkLst>
        </pc:picChg>
        <pc:picChg chg="del">
          <ac:chgData name="澤村 僚(SAWAMURA Ryo)" userId="4cfe6057-f08c-4400-b030-3b1cc012e179" providerId="ADAL" clId="{EAC640A5-805A-4767-A968-EFF0710AE39C}" dt="2024-04-24T16:12:27.546" v="199" actId="478"/>
          <ac:picMkLst>
            <pc:docMk/>
            <pc:sldMk cId="1350526129" sldId="1796"/>
            <ac:picMk id="11" creationId="{D128F067-1019-D0F7-1E0D-3E6CBF8DE812}"/>
          </ac:picMkLst>
        </pc:picChg>
      </pc:sldChg>
      <pc:sldChg chg="del">
        <pc:chgData name="澤村 僚(SAWAMURA Ryo)" userId="4cfe6057-f08c-4400-b030-3b1cc012e179" providerId="ADAL" clId="{EAC640A5-805A-4767-A968-EFF0710AE39C}" dt="2024-04-24T09:29:14.673" v="183" actId="47"/>
        <pc:sldMkLst>
          <pc:docMk/>
          <pc:sldMk cId="1433748239" sldId="1797"/>
        </pc:sldMkLst>
      </pc:sldChg>
      <pc:sldChg chg="del">
        <pc:chgData name="澤村 僚(SAWAMURA Ryo)" userId="4cfe6057-f08c-4400-b030-3b1cc012e179" providerId="ADAL" clId="{EAC640A5-805A-4767-A968-EFF0710AE39C}" dt="2024-04-24T09:14:19.977" v="2" actId="47"/>
        <pc:sldMkLst>
          <pc:docMk/>
          <pc:sldMk cId="1003148262" sldId="1799"/>
        </pc:sldMkLst>
      </pc:sldChg>
      <pc:sldChg chg="addSp modSp add mod">
        <pc:chgData name="澤村 僚(SAWAMURA Ryo)" userId="4cfe6057-f08c-4400-b030-3b1cc012e179" providerId="ADAL" clId="{EAC640A5-805A-4767-A968-EFF0710AE39C}" dt="2024-04-24T09:24:49.439" v="170" actId="1076"/>
        <pc:sldMkLst>
          <pc:docMk/>
          <pc:sldMk cId="786981567" sldId="1800"/>
        </pc:sldMkLst>
        <pc:spChg chg="add mod">
          <ac:chgData name="澤村 僚(SAWAMURA Ryo)" userId="4cfe6057-f08c-4400-b030-3b1cc012e179" providerId="ADAL" clId="{EAC640A5-805A-4767-A968-EFF0710AE39C}" dt="2024-04-24T08:55:42.210" v="1"/>
          <ac:spMkLst>
            <pc:docMk/>
            <pc:sldMk cId="786981567" sldId="1800"/>
            <ac:spMk id="3" creationId="{13CF5F74-B0CC-0804-84B5-AA312627120F}"/>
          </ac:spMkLst>
        </pc:spChg>
        <pc:spChg chg="mod">
          <ac:chgData name="澤村 僚(SAWAMURA Ryo)" userId="4cfe6057-f08c-4400-b030-3b1cc012e179" providerId="ADAL" clId="{EAC640A5-805A-4767-A968-EFF0710AE39C}" dt="2024-04-24T09:24:49.439" v="170" actId="1076"/>
          <ac:spMkLst>
            <pc:docMk/>
            <pc:sldMk cId="786981567" sldId="1800"/>
            <ac:spMk id="5" creationId="{81D1DB79-8583-A99E-540E-8CB4E3888F88}"/>
          </ac:spMkLst>
        </pc:spChg>
      </pc:sldChg>
      <pc:sldChg chg="modSp add mod">
        <pc:chgData name="澤村 僚(SAWAMURA Ryo)" userId="4cfe6057-f08c-4400-b030-3b1cc012e179" providerId="ADAL" clId="{EAC640A5-805A-4767-A968-EFF0710AE39C}" dt="2024-04-24T17:05:12.517" v="805" actId="20577"/>
        <pc:sldMkLst>
          <pc:docMk/>
          <pc:sldMk cId="1731062681" sldId="1801"/>
        </pc:sldMkLst>
        <pc:graphicFrameChg chg="modGraphic">
          <ac:chgData name="澤村 僚(SAWAMURA Ryo)" userId="4cfe6057-f08c-4400-b030-3b1cc012e179" providerId="ADAL" clId="{EAC640A5-805A-4767-A968-EFF0710AE39C}" dt="2024-04-24T17:05:12.517" v="805" actId="20577"/>
          <ac:graphicFrameMkLst>
            <pc:docMk/>
            <pc:sldMk cId="1731062681" sldId="1801"/>
            <ac:graphicFrameMk id="8" creationId="{37C17ED4-31B5-BE1E-4D38-25AA300C4F1B}"/>
          </ac:graphicFrameMkLst>
        </pc:graphicFrameChg>
      </pc:sldChg>
      <pc:sldChg chg="modSp add mod">
        <pc:chgData name="澤村 僚(SAWAMURA Ryo)" userId="4cfe6057-f08c-4400-b030-3b1cc012e179" providerId="ADAL" clId="{EAC640A5-805A-4767-A968-EFF0710AE39C}" dt="2024-04-24T17:08:04.973" v="824" actId="1076"/>
        <pc:sldMkLst>
          <pc:docMk/>
          <pc:sldMk cId="2174853723" sldId="1802"/>
        </pc:sldMkLst>
        <pc:spChg chg="mod">
          <ac:chgData name="澤村 僚(SAWAMURA Ryo)" userId="4cfe6057-f08c-4400-b030-3b1cc012e179" providerId="ADAL" clId="{EAC640A5-805A-4767-A968-EFF0710AE39C}" dt="2024-04-24T17:08:04.973" v="824" actId="1076"/>
          <ac:spMkLst>
            <pc:docMk/>
            <pc:sldMk cId="2174853723" sldId="1802"/>
            <ac:spMk id="4" creationId="{79F07E1F-BD8A-6EF9-8286-94C1A647960B}"/>
          </ac:spMkLst>
        </pc:spChg>
        <pc:spChg chg="mod">
          <ac:chgData name="澤村 僚(SAWAMURA Ryo)" userId="4cfe6057-f08c-4400-b030-3b1cc012e179" providerId="ADAL" clId="{EAC640A5-805A-4767-A968-EFF0710AE39C}" dt="2024-04-24T17:04:56.795" v="797" actId="20577"/>
          <ac:spMkLst>
            <pc:docMk/>
            <pc:sldMk cId="2174853723" sldId="1802"/>
            <ac:spMk id="21" creationId="{1CE48F07-2263-E2AB-D2E2-821FF0157F73}"/>
          </ac:spMkLst>
        </pc:spChg>
        <pc:spChg chg="mod">
          <ac:chgData name="澤村 僚(SAWAMURA Ryo)" userId="4cfe6057-f08c-4400-b030-3b1cc012e179" providerId="ADAL" clId="{EAC640A5-805A-4767-A968-EFF0710AE39C}" dt="2024-04-24T17:05:27.963" v="806" actId="20577"/>
          <ac:spMkLst>
            <pc:docMk/>
            <pc:sldMk cId="2174853723" sldId="1802"/>
            <ac:spMk id="25" creationId="{6E42A63F-2890-CD55-BF86-10D64ABE91F0}"/>
          </ac:spMkLst>
        </pc:spChg>
        <pc:graphicFrameChg chg="mod modGraphic">
          <ac:chgData name="澤村 僚(SAWAMURA Ryo)" userId="4cfe6057-f08c-4400-b030-3b1cc012e179" providerId="ADAL" clId="{EAC640A5-805A-4767-A968-EFF0710AE39C}" dt="2024-04-24T17:07:46.325" v="822" actId="1076"/>
          <ac:graphicFrameMkLst>
            <pc:docMk/>
            <pc:sldMk cId="2174853723" sldId="1802"/>
            <ac:graphicFrameMk id="8" creationId="{37C17ED4-31B5-BE1E-4D38-25AA300C4F1B}"/>
          </ac:graphicFrameMkLst>
        </pc:graphicFrameChg>
      </pc:sldChg>
      <pc:sldChg chg="addSp modSp add mod">
        <pc:chgData name="澤村 僚(SAWAMURA Ryo)" userId="4cfe6057-f08c-4400-b030-3b1cc012e179" providerId="ADAL" clId="{EAC640A5-805A-4767-A968-EFF0710AE39C}" dt="2024-04-24T17:05:53.560" v="807" actId="1076"/>
        <pc:sldMkLst>
          <pc:docMk/>
          <pc:sldMk cId="4155459258" sldId="1803"/>
        </pc:sldMkLst>
        <pc:spChg chg="add mod">
          <ac:chgData name="澤村 僚(SAWAMURA Ryo)" userId="4cfe6057-f08c-4400-b030-3b1cc012e179" providerId="ADAL" clId="{EAC640A5-805A-4767-A968-EFF0710AE39C}" dt="2024-04-24T10:38:16.550" v="196"/>
          <ac:spMkLst>
            <pc:docMk/>
            <pc:sldMk cId="4155459258" sldId="1803"/>
            <ac:spMk id="3" creationId="{992659FA-9BCC-7BE8-66D6-564C9B321D15}"/>
          </ac:spMkLst>
        </pc:spChg>
        <pc:spChg chg="mod">
          <ac:chgData name="澤村 僚(SAWAMURA Ryo)" userId="4cfe6057-f08c-4400-b030-3b1cc012e179" providerId="ADAL" clId="{EAC640A5-805A-4767-A968-EFF0710AE39C}" dt="2024-04-24T09:59:26.541" v="195" actId="20577"/>
          <ac:spMkLst>
            <pc:docMk/>
            <pc:sldMk cId="4155459258" sldId="1803"/>
            <ac:spMk id="8" creationId="{D7FDF8F7-1165-88FF-2A7D-D571C1D4BFAE}"/>
          </ac:spMkLst>
        </pc:spChg>
        <pc:graphicFrameChg chg="mod">
          <ac:chgData name="澤村 僚(SAWAMURA Ryo)" userId="4cfe6057-f08c-4400-b030-3b1cc012e179" providerId="ADAL" clId="{EAC640A5-805A-4767-A968-EFF0710AE39C}" dt="2024-04-24T17:05:53.560" v="807" actId="1076"/>
          <ac:graphicFrameMkLst>
            <pc:docMk/>
            <pc:sldMk cId="4155459258" sldId="1803"/>
            <ac:graphicFrameMk id="11" creationId="{ACF7D667-AD41-DFCA-B65A-E63FABE01CF7}"/>
          </ac:graphicFrameMkLst>
        </pc:graphicFrameChg>
      </pc:sldChg>
      <pc:sldChg chg="modSp add del mod">
        <pc:chgData name="澤村 僚(SAWAMURA Ryo)" userId="4cfe6057-f08c-4400-b030-3b1cc012e179" providerId="ADAL" clId="{EAC640A5-805A-4767-A968-EFF0710AE39C}" dt="2024-04-24T17:58:27.876" v="1088" actId="2696"/>
        <pc:sldMkLst>
          <pc:docMk/>
          <pc:sldMk cId="3249850689" sldId="1804"/>
        </pc:sldMkLst>
        <pc:spChg chg="mod">
          <ac:chgData name="澤村 僚(SAWAMURA Ryo)" userId="4cfe6057-f08c-4400-b030-3b1cc012e179" providerId="ADAL" clId="{EAC640A5-805A-4767-A968-EFF0710AE39C}" dt="2024-04-24T17:39:24.600" v="1085" actId="20577"/>
          <ac:spMkLst>
            <pc:docMk/>
            <pc:sldMk cId="3249850689" sldId="1804"/>
            <ac:spMk id="8" creationId="{D7FDF8F7-1165-88FF-2A7D-D571C1D4BFAE}"/>
          </ac:spMkLst>
        </pc:spChg>
        <pc:graphicFrameChg chg="mod">
          <ac:chgData name="澤村 僚(SAWAMURA Ryo)" userId="4cfe6057-f08c-4400-b030-3b1cc012e179" providerId="ADAL" clId="{EAC640A5-805A-4767-A968-EFF0710AE39C}" dt="2024-04-24T17:33:15.862" v="992" actId="1076"/>
          <ac:graphicFrameMkLst>
            <pc:docMk/>
            <pc:sldMk cId="3249850689" sldId="1804"/>
            <ac:graphicFrameMk id="11" creationId="{ACF7D667-AD41-DFCA-B65A-E63FABE01CF7}"/>
          </ac:graphicFrameMkLst>
        </pc:graphicFrameChg>
      </pc:sldChg>
      <pc:sldChg chg="addSp modSp add del mod">
        <pc:chgData name="澤村 僚(SAWAMURA Ryo)" userId="4cfe6057-f08c-4400-b030-3b1cc012e179" providerId="ADAL" clId="{EAC640A5-805A-4767-A968-EFF0710AE39C}" dt="2024-04-24T17:58:24.852" v="1087" actId="2696"/>
        <pc:sldMkLst>
          <pc:docMk/>
          <pc:sldMk cId="4090880940" sldId="1805"/>
        </pc:sldMkLst>
        <pc:spChg chg="add mod">
          <ac:chgData name="澤村 僚(SAWAMURA Ryo)" userId="4cfe6057-f08c-4400-b030-3b1cc012e179" providerId="ADAL" clId="{EAC640A5-805A-4767-A968-EFF0710AE39C}" dt="2024-04-24T17:07:18.111" v="816" actId="14100"/>
          <ac:spMkLst>
            <pc:docMk/>
            <pc:sldMk cId="4090880940" sldId="1805"/>
            <ac:spMk id="2" creationId="{C1994778-3866-BEC8-9342-771D44BAB01A}"/>
          </ac:spMkLst>
        </pc:spChg>
        <pc:spChg chg="add mod">
          <ac:chgData name="澤村 僚(SAWAMURA Ryo)" userId="4cfe6057-f08c-4400-b030-3b1cc012e179" providerId="ADAL" clId="{EAC640A5-805A-4767-A968-EFF0710AE39C}" dt="2024-04-24T17:14:56.416" v="870" actId="14100"/>
          <ac:spMkLst>
            <pc:docMk/>
            <pc:sldMk cId="4090880940" sldId="1805"/>
            <ac:spMk id="5" creationId="{A15210BD-AC66-5CE5-325A-0EDC77FCB3D5}"/>
          </ac:spMkLst>
        </pc:spChg>
        <pc:spChg chg="add mod">
          <ac:chgData name="澤村 僚(SAWAMURA Ryo)" userId="4cfe6057-f08c-4400-b030-3b1cc012e179" providerId="ADAL" clId="{EAC640A5-805A-4767-A968-EFF0710AE39C}" dt="2024-04-24T17:14:53.550" v="869" actId="1076"/>
          <ac:spMkLst>
            <pc:docMk/>
            <pc:sldMk cId="4090880940" sldId="1805"/>
            <ac:spMk id="7" creationId="{9ABF7236-074C-4D5A-D44E-E46A91B9F70E}"/>
          </ac:spMkLst>
        </pc:spChg>
        <pc:spChg chg="mod">
          <ac:chgData name="澤村 僚(SAWAMURA Ryo)" userId="4cfe6057-f08c-4400-b030-3b1cc012e179" providerId="ADAL" clId="{EAC640A5-805A-4767-A968-EFF0710AE39C}" dt="2024-04-24T17:11:39.972" v="847" actId="403"/>
          <ac:spMkLst>
            <pc:docMk/>
            <pc:sldMk cId="4090880940" sldId="1805"/>
            <ac:spMk id="8" creationId="{28F5639B-153A-C9C6-8D71-B88513E98BDD}"/>
          </ac:spMkLst>
        </pc:spChg>
        <pc:spChg chg="add mod">
          <ac:chgData name="澤村 僚(SAWAMURA Ryo)" userId="4cfe6057-f08c-4400-b030-3b1cc012e179" providerId="ADAL" clId="{EAC640A5-805A-4767-A968-EFF0710AE39C}" dt="2024-04-24T17:15:01.428" v="871" actId="1076"/>
          <ac:spMkLst>
            <pc:docMk/>
            <pc:sldMk cId="4090880940" sldId="1805"/>
            <ac:spMk id="9" creationId="{42BE093D-B1B9-255A-CAEB-C3DD53AD9C2E}"/>
          </ac:spMkLst>
        </pc:spChg>
        <pc:spChg chg="mod">
          <ac:chgData name="澤村 僚(SAWAMURA Ryo)" userId="4cfe6057-f08c-4400-b030-3b1cc012e179" providerId="ADAL" clId="{EAC640A5-805A-4767-A968-EFF0710AE39C}" dt="2024-04-24T17:12:05.575" v="852" actId="1076"/>
          <ac:spMkLst>
            <pc:docMk/>
            <pc:sldMk cId="4090880940" sldId="1805"/>
            <ac:spMk id="10" creationId="{2BAADCAC-D1F1-C3A6-984C-4F541AD45764}"/>
          </ac:spMkLst>
        </pc:spChg>
        <pc:spChg chg="add mod">
          <ac:chgData name="澤村 僚(SAWAMURA Ryo)" userId="4cfe6057-f08c-4400-b030-3b1cc012e179" providerId="ADAL" clId="{EAC640A5-805A-4767-A968-EFF0710AE39C}" dt="2024-04-24T17:11:45.561" v="848" actId="1076"/>
          <ac:spMkLst>
            <pc:docMk/>
            <pc:sldMk cId="4090880940" sldId="1805"/>
            <ac:spMk id="11" creationId="{EEB975FB-26C7-0357-CCEF-322789A5818D}"/>
          </ac:spMkLst>
        </pc:spChg>
        <pc:spChg chg="add mod">
          <ac:chgData name="澤村 僚(SAWAMURA Ryo)" userId="4cfe6057-f08c-4400-b030-3b1cc012e179" providerId="ADAL" clId="{EAC640A5-805A-4767-A968-EFF0710AE39C}" dt="2024-04-24T17:15:07.479" v="872" actId="1076"/>
          <ac:spMkLst>
            <pc:docMk/>
            <pc:sldMk cId="4090880940" sldId="1805"/>
            <ac:spMk id="12" creationId="{6C4E6462-2813-BC13-44B8-C16503C007D7}"/>
          </ac:spMkLst>
        </pc:spChg>
        <pc:spChg chg="add mod">
          <ac:chgData name="澤村 僚(SAWAMURA Ryo)" userId="4cfe6057-f08c-4400-b030-3b1cc012e179" providerId="ADAL" clId="{EAC640A5-805A-4767-A968-EFF0710AE39C}" dt="2024-04-24T17:15:29.409" v="874"/>
          <ac:spMkLst>
            <pc:docMk/>
            <pc:sldMk cId="4090880940" sldId="1805"/>
            <ac:spMk id="13" creationId="{87D06DAF-7F72-9DC4-5AFE-EE9A9EB0A7BE}"/>
          </ac:spMkLst>
        </pc:spChg>
        <pc:spChg chg="add mod">
          <ac:chgData name="澤村 僚(SAWAMURA Ryo)" userId="4cfe6057-f08c-4400-b030-3b1cc012e179" providerId="ADAL" clId="{EAC640A5-805A-4767-A968-EFF0710AE39C}" dt="2024-04-24T17:15:46.370" v="876" actId="1076"/>
          <ac:spMkLst>
            <pc:docMk/>
            <pc:sldMk cId="4090880940" sldId="1805"/>
            <ac:spMk id="14" creationId="{4FC6F981-1330-DF0D-54BB-32E00F273C94}"/>
          </ac:spMkLst>
        </pc:spChg>
        <pc:spChg chg="add mod">
          <ac:chgData name="澤村 僚(SAWAMURA Ryo)" userId="4cfe6057-f08c-4400-b030-3b1cc012e179" providerId="ADAL" clId="{EAC640A5-805A-4767-A968-EFF0710AE39C}" dt="2024-04-24T17:15:59.792" v="878" actId="1076"/>
          <ac:spMkLst>
            <pc:docMk/>
            <pc:sldMk cId="4090880940" sldId="1805"/>
            <ac:spMk id="15" creationId="{7A375DE6-AB41-E3C8-757A-C276B44099A3}"/>
          </ac:spMkLst>
        </pc:spChg>
        <pc:spChg chg="add mod">
          <ac:chgData name="澤村 僚(SAWAMURA Ryo)" userId="4cfe6057-f08c-4400-b030-3b1cc012e179" providerId="ADAL" clId="{EAC640A5-805A-4767-A968-EFF0710AE39C}" dt="2024-04-24T17:16:14.931" v="880" actId="1076"/>
          <ac:spMkLst>
            <pc:docMk/>
            <pc:sldMk cId="4090880940" sldId="1805"/>
            <ac:spMk id="16" creationId="{8F868034-9FCA-7B61-B22D-3993BECECB13}"/>
          </ac:spMkLst>
        </pc:spChg>
        <pc:spChg chg="add mod">
          <ac:chgData name="澤村 僚(SAWAMURA Ryo)" userId="4cfe6057-f08c-4400-b030-3b1cc012e179" providerId="ADAL" clId="{EAC640A5-805A-4767-A968-EFF0710AE39C}" dt="2024-04-24T17:36:07.164" v="1057"/>
          <ac:spMkLst>
            <pc:docMk/>
            <pc:sldMk cId="4090880940" sldId="1805"/>
            <ac:spMk id="17" creationId="{A165D4A6-8858-34CA-4309-DD640915EDF5}"/>
          </ac:spMkLst>
        </pc:spChg>
        <pc:spChg chg="add mod">
          <ac:chgData name="澤村 僚(SAWAMURA Ryo)" userId="4cfe6057-f08c-4400-b030-3b1cc012e179" providerId="ADAL" clId="{EAC640A5-805A-4767-A968-EFF0710AE39C}" dt="2024-04-24T17:16:53.348" v="885"/>
          <ac:spMkLst>
            <pc:docMk/>
            <pc:sldMk cId="4090880940" sldId="1805"/>
            <ac:spMk id="18" creationId="{BEB95044-79B3-53FA-1AA2-DBC71FEB4C63}"/>
          </ac:spMkLst>
        </pc:spChg>
        <pc:spChg chg="add mod">
          <ac:chgData name="澤村 僚(SAWAMURA Ryo)" userId="4cfe6057-f08c-4400-b030-3b1cc012e179" providerId="ADAL" clId="{EAC640A5-805A-4767-A968-EFF0710AE39C}" dt="2024-04-24T17:39:07.133" v="1080" actId="20577"/>
          <ac:spMkLst>
            <pc:docMk/>
            <pc:sldMk cId="4090880940" sldId="1805"/>
            <ac:spMk id="19" creationId="{C00D7FAB-EF2E-530E-D0CB-CBA6701ED198}"/>
          </ac:spMkLst>
        </pc:spChg>
        <pc:spChg chg="add mod">
          <ac:chgData name="澤村 僚(SAWAMURA Ryo)" userId="4cfe6057-f08c-4400-b030-3b1cc012e179" providerId="ADAL" clId="{EAC640A5-805A-4767-A968-EFF0710AE39C}" dt="2024-04-24T17:17:28.814" v="893" actId="20577"/>
          <ac:spMkLst>
            <pc:docMk/>
            <pc:sldMk cId="4090880940" sldId="1805"/>
            <ac:spMk id="20" creationId="{DF1765CA-6E12-0D8C-E0F2-6B3C0EF46C0E}"/>
          </ac:spMkLst>
        </pc:spChg>
        <pc:spChg chg="add mod">
          <ac:chgData name="澤村 僚(SAWAMURA Ryo)" userId="4cfe6057-f08c-4400-b030-3b1cc012e179" providerId="ADAL" clId="{EAC640A5-805A-4767-A968-EFF0710AE39C}" dt="2024-04-24T17:17:44.031" v="895"/>
          <ac:spMkLst>
            <pc:docMk/>
            <pc:sldMk cId="4090880940" sldId="1805"/>
            <ac:spMk id="22" creationId="{FE4080B5-1B23-D03A-5CAE-5E2B7671DB3F}"/>
          </ac:spMkLst>
        </pc:spChg>
        <pc:graphicFrameChg chg="mod modGraphic">
          <ac:chgData name="澤村 僚(SAWAMURA Ryo)" userId="4cfe6057-f08c-4400-b030-3b1cc012e179" providerId="ADAL" clId="{EAC640A5-805A-4767-A968-EFF0710AE39C}" dt="2024-04-24T17:38:36.717" v="1076" actId="20577"/>
          <ac:graphicFrameMkLst>
            <pc:docMk/>
            <pc:sldMk cId="4090880940" sldId="1805"/>
            <ac:graphicFrameMk id="3" creationId="{11C13D6C-87C3-87C3-2D96-4A1678AD8316}"/>
          </ac:graphicFrameMkLst>
        </pc:graphicFrameChg>
        <pc:graphicFrameChg chg="mod modGraphic">
          <ac:chgData name="澤村 僚(SAWAMURA Ryo)" userId="4cfe6057-f08c-4400-b030-3b1cc012e179" providerId="ADAL" clId="{EAC640A5-805A-4767-A968-EFF0710AE39C}" dt="2024-04-24T17:36:36.770" v="1062" actId="1076"/>
          <ac:graphicFrameMkLst>
            <pc:docMk/>
            <pc:sldMk cId="4090880940" sldId="1805"/>
            <ac:graphicFrameMk id="4" creationId="{B0CB6E7E-196E-F269-59D1-98DAEE96C02F}"/>
          </ac:graphicFrameMkLst>
        </pc:graphicFrameChg>
        <pc:graphicFrameChg chg="add mod">
          <ac:chgData name="澤村 僚(SAWAMURA Ryo)" userId="4cfe6057-f08c-4400-b030-3b1cc012e179" providerId="ADAL" clId="{EAC640A5-805A-4767-A968-EFF0710AE39C}" dt="2024-04-24T17:17:31.256" v="894"/>
          <ac:graphicFrameMkLst>
            <pc:docMk/>
            <pc:sldMk cId="4090880940" sldId="1805"/>
            <ac:graphicFrameMk id="21" creationId="{B1B4F11B-162D-410B-4338-10F05DEA1555}"/>
          </ac:graphicFrameMkLst>
        </pc:graphicFrameChg>
      </pc:sldChg>
      <pc:sldChg chg="add del ord">
        <pc:chgData name="澤村 僚(SAWAMURA Ryo)" userId="4cfe6057-f08c-4400-b030-3b1cc012e179" providerId="ADAL" clId="{EAC640A5-805A-4767-A968-EFF0710AE39C}" dt="2024-04-24T17:17:50.601" v="896" actId="47"/>
        <pc:sldMkLst>
          <pc:docMk/>
          <pc:sldMk cId="521544119" sldId="1806"/>
        </pc:sldMkLst>
      </pc:sldChg>
    </pc:docChg>
  </pc:docChgLst>
  <pc:docChgLst>
    <pc:chgData name="牧野 充希(MAKINO Atsuki)" userId="e1bb11f1-fc18-4a8c-a6ff-e197300cb8d1" providerId="ADAL" clId="{2D0814DC-038E-4566-A7DE-7C8C2873F60A}"/>
    <pc:docChg chg="custSel modSld">
      <pc:chgData name="牧野 充希(MAKINO Atsuki)" userId="e1bb11f1-fc18-4a8c-a6ff-e197300cb8d1" providerId="ADAL" clId="{2D0814DC-038E-4566-A7DE-7C8C2873F60A}" dt="2025-04-26T06:07:38.677" v="131"/>
      <pc:docMkLst>
        <pc:docMk/>
      </pc:docMkLst>
      <pc:sldChg chg="modSp mod">
        <pc:chgData name="牧野 充希(MAKINO Atsuki)" userId="e1bb11f1-fc18-4a8c-a6ff-e197300cb8d1" providerId="ADAL" clId="{2D0814DC-038E-4566-A7DE-7C8C2873F60A}" dt="2025-04-23T13:22:17.983" v="13" actId="20577"/>
        <pc:sldMkLst>
          <pc:docMk/>
          <pc:sldMk cId="4155459258" sldId="1803"/>
        </pc:sldMkLst>
        <pc:spChg chg="mod">
          <ac:chgData name="牧野 充希(MAKINO Atsuki)" userId="e1bb11f1-fc18-4a8c-a6ff-e197300cb8d1" providerId="ADAL" clId="{2D0814DC-038E-4566-A7DE-7C8C2873F60A}" dt="2025-04-23T13:22:17.983" v="13" actId="20577"/>
          <ac:spMkLst>
            <pc:docMk/>
            <pc:sldMk cId="4155459258" sldId="1803"/>
            <ac:spMk id="2" creationId="{CAA6AC28-4973-3211-157C-4AD1E7CE6B10}"/>
          </ac:spMkLst>
        </pc:spChg>
      </pc:sldChg>
      <pc:sldChg chg="addSp delSp modSp mod">
        <pc:chgData name="牧野 充希(MAKINO Atsuki)" userId="e1bb11f1-fc18-4a8c-a6ff-e197300cb8d1" providerId="ADAL" clId="{2D0814DC-038E-4566-A7DE-7C8C2873F60A}" dt="2025-04-26T06:07:09.474" v="100"/>
        <pc:sldMkLst>
          <pc:docMk/>
          <pc:sldMk cId="3494048592" sldId="1805"/>
        </pc:sldMkLst>
        <pc:spChg chg="add mod">
          <ac:chgData name="牧野 充希(MAKINO Atsuki)" userId="e1bb11f1-fc18-4a8c-a6ff-e197300cb8d1" providerId="ADAL" clId="{2D0814DC-038E-4566-A7DE-7C8C2873F60A}" dt="2025-04-26T06:07:09.474" v="100"/>
          <ac:spMkLst>
            <pc:docMk/>
            <pc:sldMk cId="3494048592" sldId="1805"/>
            <ac:spMk id="2" creationId="{8B8B689B-0EF5-CB3B-31C4-06DA6CDF85D6}"/>
          </ac:spMkLst>
        </pc:spChg>
        <pc:spChg chg="del">
          <ac:chgData name="牧野 充希(MAKINO Atsuki)" userId="e1bb11f1-fc18-4a8c-a6ff-e197300cb8d1" providerId="ADAL" clId="{2D0814DC-038E-4566-A7DE-7C8C2873F60A}" dt="2025-04-26T06:07:08.847" v="99" actId="478"/>
          <ac:spMkLst>
            <pc:docMk/>
            <pc:sldMk cId="3494048592" sldId="1805"/>
            <ac:spMk id="10" creationId="{35543A15-5B1D-8CB3-2CC6-E1EA7F2D4B43}"/>
          </ac:spMkLst>
        </pc:spChg>
      </pc:sldChg>
      <pc:sldChg chg="addSp delSp modSp mod">
        <pc:chgData name="牧野 充希(MAKINO Atsuki)" userId="e1bb11f1-fc18-4a8c-a6ff-e197300cb8d1" providerId="ADAL" clId="{2D0814DC-038E-4566-A7DE-7C8C2873F60A}" dt="2025-04-26T06:07:12.492" v="102"/>
        <pc:sldMkLst>
          <pc:docMk/>
          <pc:sldMk cId="1539400230" sldId="1806"/>
        </pc:sldMkLst>
        <pc:spChg chg="add mod">
          <ac:chgData name="牧野 充希(MAKINO Atsuki)" userId="e1bb11f1-fc18-4a8c-a6ff-e197300cb8d1" providerId="ADAL" clId="{2D0814DC-038E-4566-A7DE-7C8C2873F60A}" dt="2025-04-26T06:07:12.492" v="102"/>
          <ac:spMkLst>
            <pc:docMk/>
            <pc:sldMk cId="1539400230" sldId="1806"/>
            <ac:spMk id="10" creationId="{EE80382C-EA5F-177D-A449-360CA49CB918}"/>
          </ac:spMkLst>
        </pc:spChg>
        <pc:spChg chg="del">
          <ac:chgData name="牧野 充希(MAKINO Atsuki)" userId="e1bb11f1-fc18-4a8c-a6ff-e197300cb8d1" providerId="ADAL" clId="{2D0814DC-038E-4566-A7DE-7C8C2873F60A}" dt="2025-04-26T06:07:12.240" v="101" actId="478"/>
          <ac:spMkLst>
            <pc:docMk/>
            <pc:sldMk cId="1539400230" sldId="1806"/>
            <ac:spMk id="15" creationId="{C5F075E2-7332-766F-8FA3-BD6D4A460ED7}"/>
          </ac:spMkLst>
        </pc:spChg>
      </pc:sldChg>
      <pc:sldChg chg="addSp delSp modSp mod">
        <pc:chgData name="牧野 充希(MAKINO Atsuki)" userId="e1bb11f1-fc18-4a8c-a6ff-e197300cb8d1" providerId="ADAL" clId="{2D0814DC-038E-4566-A7DE-7C8C2873F60A}" dt="2025-04-26T06:07:17.018" v="104"/>
        <pc:sldMkLst>
          <pc:docMk/>
          <pc:sldMk cId="3361803510" sldId="1807"/>
        </pc:sldMkLst>
        <pc:spChg chg="mod">
          <ac:chgData name="牧野 充希(MAKINO Atsuki)" userId="e1bb11f1-fc18-4a8c-a6ff-e197300cb8d1" providerId="ADAL" clId="{2D0814DC-038E-4566-A7DE-7C8C2873F60A}" dt="2025-04-23T13:22:32.764" v="61" actId="20577"/>
          <ac:spMkLst>
            <pc:docMk/>
            <pc:sldMk cId="3361803510" sldId="1807"/>
            <ac:spMk id="2" creationId="{CAA6AC28-4973-3211-157C-4AD1E7CE6B10}"/>
          </ac:spMkLst>
        </pc:spChg>
        <pc:spChg chg="add mod">
          <ac:chgData name="牧野 充希(MAKINO Atsuki)" userId="e1bb11f1-fc18-4a8c-a6ff-e197300cb8d1" providerId="ADAL" clId="{2D0814DC-038E-4566-A7DE-7C8C2873F60A}" dt="2025-04-26T06:07:17.018" v="104"/>
          <ac:spMkLst>
            <pc:docMk/>
            <pc:sldMk cId="3361803510" sldId="1807"/>
            <ac:spMk id="3" creationId="{47638803-8A90-8E65-0A3E-262EF3AEF946}"/>
          </ac:spMkLst>
        </pc:spChg>
        <pc:spChg chg="del">
          <ac:chgData name="牧野 充希(MAKINO Atsuki)" userId="e1bb11f1-fc18-4a8c-a6ff-e197300cb8d1" providerId="ADAL" clId="{2D0814DC-038E-4566-A7DE-7C8C2873F60A}" dt="2025-04-26T06:07:16.798" v="103" actId="478"/>
          <ac:spMkLst>
            <pc:docMk/>
            <pc:sldMk cId="3361803510" sldId="1807"/>
            <ac:spMk id="4" creationId="{46D89142-794A-1C69-7B9D-A6954B332BED}"/>
          </ac:spMkLst>
        </pc:spChg>
      </pc:sldChg>
      <pc:sldChg chg="addSp delSp modSp mod">
        <pc:chgData name="牧野 充希(MAKINO Atsuki)" userId="e1bb11f1-fc18-4a8c-a6ff-e197300cb8d1" providerId="ADAL" clId="{2D0814DC-038E-4566-A7DE-7C8C2873F60A}" dt="2025-04-26T06:07:35.309" v="129"/>
        <pc:sldMkLst>
          <pc:docMk/>
          <pc:sldMk cId="2260495983" sldId="1808"/>
        </pc:sldMkLst>
        <pc:spChg chg="add mod">
          <ac:chgData name="牧野 充希(MAKINO Atsuki)" userId="e1bb11f1-fc18-4a8c-a6ff-e197300cb8d1" providerId="ADAL" clId="{2D0814DC-038E-4566-A7DE-7C8C2873F60A}" dt="2025-04-26T06:07:35.309" v="129"/>
          <ac:spMkLst>
            <pc:docMk/>
            <pc:sldMk cId="2260495983" sldId="1808"/>
            <ac:spMk id="4" creationId="{0D89987C-8826-47D4-3539-C1F5CF9F82B9}"/>
          </ac:spMkLst>
        </pc:spChg>
        <pc:spChg chg="del">
          <ac:chgData name="牧野 充希(MAKINO Atsuki)" userId="e1bb11f1-fc18-4a8c-a6ff-e197300cb8d1" providerId="ADAL" clId="{2D0814DC-038E-4566-A7DE-7C8C2873F60A}" dt="2025-04-26T06:07:35.105" v="128" actId="478"/>
          <ac:spMkLst>
            <pc:docMk/>
            <pc:sldMk cId="2260495983" sldId="1808"/>
            <ac:spMk id="9" creationId="{D4562A9B-C477-BA42-D1FF-B61BF4C1BE52}"/>
          </ac:spMkLst>
        </pc:spChg>
      </pc:sldChg>
      <pc:sldChg chg="addSp delSp modSp mod">
        <pc:chgData name="牧野 充希(MAKINO Atsuki)" userId="e1bb11f1-fc18-4a8c-a6ff-e197300cb8d1" providerId="ADAL" clId="{2D0814DC-038E-4566-A7DE-7C8C2873F60A}" dt="2025-04-26T06:07:38.677" v="131"/>
        <pc:sldMkLst>
          <pc:docMk/>
          <pc:sldMk cId="2538732313" sldId="1809"/>
        </pc:sldMkLst>
        <pc:spChg chg="mod">
          <ac:chgData name="牧野 充希(MAKINO Atsuki)" userId="e1bb11f1-fc18-4a8c-a6ff-e197300cb8d1" providerId="ADAL" clId="{2D0814DC-038E-4566-A7DE-7C8C2873F60A}" dt="2025-04-23T13:22:44.063" v="98" actId="20577"/>
          <ac:spMkLst>
            <pc:docMk/>
            <pc:sldMk cId="2538732313" sldId="1809"/>
            <ac:spMk id="2" creationId="{CAA6AC28-4973-3211-157C-4AD1E7CE6B10}"/>
          </ac:spMkLst>
        </pc:spChg>
        <pc:spChg chg="del">
          <ac:chgData name="牧野 充希(MAKINO Atsuki)" userId="e1bb11f1-fc18-4a8c-a6ff-e197300cb8d1" providerId="ADAL" clId="{2D0814DC-038E-4566-A7DE-7C8C2873F60A}" dt="2025-04-26T06:07:38.452" v="130" actId="478"/>
          <ac:spMkLst>
            <pc:docMk/>
            <pc:sldMk cId="2538732313" sldId="1809"/>
            <ac:spMk id="3" creationId="{AD7D05FE-EB06-CABF-3A71-2F35A962C383}"/>
          </ac:spMkLst>
        </pc:spChg>
        <pc:spChg chg="add mod">
          <ac:chgData name="牧野 充希(MAKINO Atsuki)" userId="e1bb11f1-fc18-4a8c-a6ff-e197300cb8d1" providerId="ADAL" clId="{2D0814DC-038E-4566-A7DE-7C8C2873F60A}" dt="2025-04-26T06:07:38.677" v="131"/>
          <ac:spMkLst>
            <pc:docMk/>
            <pc:sldMk cId="2538732313" sldId="1809"/>
            <ac:spMk id="4" creationId="{A0283E34-6CE4-38AE-001B-CB03E147141C}"/>
          </ac:spMkLst>
        </pc:spChg>
      </pc:sldChg>
      <pc:sldChg chg="addSp delSp modSp mod">
        <pc:chgData name="牧野 充希(MAKINO Atsuki)" userId="e1bb11f1-fc18-4a8c-a6ff-e197300cb8d1" providerId="ADAL" clId="{2D0814DC-038E-4566-A7DE-7C8C2873F60A}" dt="2025-04-26T06:07:28.488" v="127" actId="20577"/>
        <pc:sldMkLst>
          <pc:docMk/>
          <pc:sldMk cId="4267065186" sldId="1812"/>
        </pc:sldMkLst>
        <pc:spChg chg="add mod">
          <ac:chgData name="牧野 充希(MAKINO Atsuki)" userId="e1bb11f1-fc18-4a8c-a6ff-e197300cb8d1" providerId="ADAL" clId="{2D0814DC-038E-4566-A7DE-7C8C2873F60A}" dt="2025-04-26T06:07:28.488" v="127" actId="20577"/>
          <ac:spMkLst>
            <pc:docMk/>
            <pc:sldMk cId="4267065186" sldId="1812"/>
            <ac:spMk id="4" creationId="{6EB9ACD8-7245-C858-ECE5-748387CAD09F}"/>
          </ac:spMkLst>
        </pc:spChg>
        <pc:spChg chg="del">
          <ac:chgData name="牧野 充希(MAKINO Atsuki)" userId="e1bb11f1-fc18-4a8c-a6ff-e197300cb8d1" providerId="ADAL" clId="{2D0814DC-038E-4566-A7DE-7C8C2873F60A}" dt="2025-04-26T06:07:20.209" v="105" actId="478"/>
          <ac:spMkLst>
            <pc:docMk/>
            <pc:sldMk cId="4267065186" sldId="1812"/>
            <ac:spMk id="9" creationId="{D4562A9B-C477-BA42-D1FF-B61BF4C1BE52}"/>
          </ac:spMkLst>
        </pc:spChg>
      </pc:sldChg>
    </pc:docChg>
  </pc:docChgLst>
  <pc:docChgLst>
    <pc:chgData name="牧野 英明(MAKINO Hideaki)" userId="S::hideaki.makino.d3z@cas.go.jp::a4f77797-a96b-4200-9bec-45822309ec52" providerId="AD" clId="Web-{C0AABB3F-F403-465D-AF7E-47116D17FB38}"/>
    <pc:docChg chg="modSld">
      <pc:chgData name="牧野 英明(MAKINO Hideaki)" userId="S::hideaki.makino.d3z@cas.go.jp::a4f77797-a96b-4200-9bec-45822309ec52" providerId="AD" clId="Web-{C0AABB3F-F403-465D-AF7E-47116D17FB38}" dt="2025-04-21T01:24:20.893" v="1"/>
      <pc:docMkLst>
        <pc:docMk/>
      </pc:docMkLst>
      <pc:sldChg chg="modSp">
        <pc:chgData name="牧野 英明(MAKINO Hideaki)" userId="S::hideaki.makino.d3z@cas.go.jp::a4f77797-a96b-4200-9bec-45822309ec52" providerId="AD" clId="Web-{C0AABB3F-F403-465D-AF7E-47116D17FB38}" dt="2025-04-21T01:24:20.893" v="1"/>
        <pc:sldMkLst>
          <pc:docMk/>
          <pc:sldMk cId="1731062681" sldId="1801"/>
        </pc:sldMkLst>
        <pc:graphicFrameChg chg="mod modGraphic">
          <ac:chgData name="牧野 英明(MAKINO Hideaki)" userId="S::hideaki.makino.d3z@cas.go.jp::a4f77797-a96b-4200-9bec-45822309ec52" providerId="AD" clId="Web-{C0AABB3F-F403-465D-AF7E-47116D17FB38}" dt="2025-04-21T01:24:20.893" v="1"/>
          <ac:graphicFrameMkLst>
            <pc:docMk/>
            <pc:sldMk cId="1731062681" sldId="1801"/>
            <ac:graphicFrameMk id="8" creationId="{37C17ED4-31B5-BE1E-4D38-25AA300C4F1B}"/>
          </ac:graphicFrameMkLst>
        </pc:graphicFrameChg>
      </pc:sldChg>
    </pc:docChg>
  </pc:docChgLst>
  <pc:docChgLst>
    <pc:chgData name="澤村 僚(SAWAMURA Ryo)" userId="4cfe6057-f08c-4400-b030-3b1cc012e179" providerId="ADAL" clId="{090D3D48-C4A9-4517-93AA-0E2D39FAAE00}"/>
    <pc:docChg chg="undo redo custSel modSld">
      <pc:chgData name="澤村 僚(SAWAMURA Ryo)" userId="4cfe6057-f08c-4400-b030-3b1cc012e179" providerId="ADAL" clId="{090D3D48-C4A9-4517-93AA-0E2D39FAAE00}" dt="2025-01-17T06:22:07.851" v="7" actId="14100"/>
      <pc:docMkLst>
        <pc:docMk/>
      </pc:docMkLst>
      <pc:sldChg chg="modSp mod">
        <pc:chgData name="澤村 僚(SAWAMURA Ryo)" userId="4cfe6057-f08c-4400-b030-3b1cc012e179" providerId="ADAL" clId="{090D3D48-C4A9-4517-93AA-0E2D39FAAE00}" dt="2025-01-17T06:22:07.851" v="7" actId="14100"/>
        <pc:sldMkLst>
          <pc:docMk/>
          <pc:sldMk cId="786981567" sldId="1800"/>
        </pc:sldMkLst>
        <pc:spChg chg="mod">
          <ac:chgData name="澤村 僚(SAWAMURA Ryo)" userId="4cfe6057-f08c-4400-b030-3b1cc012e179" providerId="ADAL" clId="{090D3D48-C4A9-4517-93AA-0E2D39FAAE00}" dt="2025-01-17T06:22:07.851" v="7" actId="14100"/>
          <ac:spMkLst>
            <pc:docMk/>
            <pc:sldMk cId="786981567" sldId="1800"/>
            <ac:spMk id="2" creationId="{5F2D8408-1CA6-F273-B2C3-DAE07E0C2F44}"/>
          </ac:spMkLst>
        </pc:spChg>
      </pc:sldChg>
    </pc:docChg>
  </pc:docChgLst>
  <pc:docChgLst>
    <pc:chgData name="佐々木 琢磨(SASAKI Takuma)" userId="6d4c5d6b-d31e-4202-b663-3f2819138080" providerId="ADAL" clId="{F942436F-2B40-4AE2-A117-971FDF502CE1}"/>
    <pc:docChg chg="modSld">
      <pc:chgData name="佐々木 琢磨(SASAKI Takuma)" userId="6d4c5d6b-d31e-4202-b663-3f2819138080" providerId="ADAL" clId="{F942436F-2B40-4AE2-A117-971FDF502CE1}" dt="2024-02-21T01:50:54.962" v="9" actId="20577"/>
      <pc:docMkLst>
        <pc:docMk/>
      </pc:docMkLst>
      <pc:sldChg chg="modSp mod">
        <pc:chgData name="佐々木 琢磨(SASAKI Takuma)" userId="6d4c5d6b-d31e-4202-b663-3f2819138080" providerId="ADAL" clId="{F942436F-2B40-4AE2-A117-971FDF502CE1}" dt="2024-02-21T01:50:54.962" v="9" actId="20577"/>
        <pc:sldMkLst>
          <pc:docMk/>
          <pc:sldMk cId="1003148262" sldId="1799"/>
        </pc:sldMkLst>
        <pc:spChg chg="mod">
          <ac:chgData name="佐々木 琢磨(SASAKI Takuma)" userId="6d4c5d6b-d31e-4202-b663-3f2819138080" providerId="ADAL" clId="{F942436F-2B40-4AE2-A117-971FDF502CE1}" dt="2024-02-21T01:50:54.962" v="9" actId="20577"/>
          <ac:spMkLst>
            <pc:docMk/>
            <pc:sldMk cId="1003148262" sldId="1799"/>
            <ac:spMk id="5" creationId="{81D1DB79-8583-A99E-540E-8CB4E3888F88}"/>
          </ac:spMkLst>
        </pc:spChg>
      </pc:sldChg>
    </pc:docChg>
  </pc:docChgLst>
  <pc:docChgLst>
    <pc:chgData name="西村 笙平(NISHIMURA Shohei)" userId="d08d2c33-9814-43fe-9d7b-ea3e5d006c86" providerId="ADAL" clId="{AABF1FB4-B69B-44D7-A2FB-F857DDDC3A61}"/>
    <pc:docChg chg="undo custSel addSld delSld modSld modSection">
      <pc:chgData name="西村 笙平(NISHIMURA Shohei)" userId="d08d2c33-9814-43fe-9d7b-ea3e5d006c86" providerId="ADAL" clId="{AABF1FB4-B69B-44D7-A2FB-F857DDDC3A61}" dt="2025-04-15T05:32:32.402" v="884" actId="478"/>
      <pc:docMkLst>
        <pc:docMk/>
      </pc:docMkLst>
      <pc:sldChg chg="modSp">
        <pc:chgData name="西村 笙平(NISHIMURA Shohei)" userId="d08d2c33-9814-43fe-9d7b-ea3e5d006c86" providerId="ADAL" clId="{AABF1FB4-B69B-44D7-A2FB-F857DDDC3A61}" dt="2025-04-10T04:39:45.569" v="869"/>
        <pc:sldMkLst>
          <pc:docMk/>
          <pc:sldMk cId="1927059807" sldId="1764"/>
        </pc:sldMkLst>
        <pc:spChg chg="mod">
          <ac:chgData name="西村 笙平(NISHIMURA Shohei)" userId="d08d2c33-9814-43fe-9d7b-ea3e5d006c86" providerId="ADAL" clId="{AABF1FB4-B69B-44D7-A2FB-F857DDDC3A61}" dt="2025-04-10T04:39:45.569" v="869"/>
          <ac:spMkLst>
            <pc:docMk/>
            <pc:sldMk cId="1927059807" sldId="1764"/>
            <ac:spMk id="18" creationId="{045734C6-2283-9884-2A64-78EFE34E5FB9}"/>
          </ac:spMkLst>
        </pc:spChg>
      </pc:sldChg>
      <pc:sldChg chg="modSp">
        <pc:chgData name="西村 笙平(NISHIMURA Shohei)" userId="d08d2c33-9814-43fe-9d7b-ea3e5d006c86" providerId="ADAL" clId="{AABF1FB4-B69B-44D7-A2FB-F857DDDC3A61}" dt="2025-04-10T04:39:45.569" v="869"/>
        <pc:sldMkLst>
          <pc:docMk/>
          <pc:sldMk cId="786981567" sldId="1800"/>
        </pc:sldMkLst>
        <pc:spChg chg="mod">
          <ac:chgData name="西村 笙平(NISHIMURA Shohei)" userId="d08d2c33-9814-43fe-9d7b-ea3e5d006c86" providerId="ADAL" clId="{AABF1FB4-B69B-44D7-A2FB-F857DDDC3A61}" dt="2025-04-10T04:39:45.569" v="869"/>
          <ac:spMkLst>
            <pc:docMk/>
            <pc:sldMk cId="786981567" sldId="1800"/>
            <ac:spMk id="5" creationId="{81D1DB79-8583-A99E-540E-8CB4E3888F88}"/>
          </ac:spMkLst>
        </pc:spChg>
      </pc:sldChg>
      <pc:sldChg chg="modSp mod">
        <pc:chgData name="西村 笙平(NISHIMURA Shohei)" userId="d08d2c33-9814-43fe-9d7b-ea3e5d006c86" providerId="ADAL" clId="{AABF1FB4-B69B-44D7-A2FB-F857DDDC3A61}" dt="2025-04-15T05:19:29.948" v="883" actId="20577"/>
        <pc:sldMkLst>
          <pc:docMk/>
          <pc:sldMk cId="1731062681" sldId="1801"/>
        </pc:sldMkLst>
        <pc:graphicFrameChg chg="mod modGraphic">
          <ac:chgData name="西村 笙平(NISHIMURA Shohei)" userId="d08d2c33-9814-43fe-9d7b-ea3e5d006c86" providerId="ADAL" clId="{AABF1FB4-B69B-44D7-A2FB-F857DDDC3A61}" dt="2025-04-15T05:19:29.948" v="883" actId="20577"/>
          <ac:graphicFrameMkLst>
            <pc:docMk/>
            <pc:sldMk cId="1731062681" sldId="1801"/>
            <ac:graphicFrameMk id="8" creationId="{37C17ED4-31B5-BE1E-4D38-25AA300C4F1B}"/>
          </ac:graphicFrameMkLst>
        </pc:graphicFrameChg>
      </pc:sldChg>
      <pc:sldChg chg="modSp add del mod">
        <pc:chgData name="西村 笙平(NISHIMURA Shohei)" userId="d08d2c33-9814-43fe-9d7b-ea3e5d006c86" providerId="ADAL" clId="{AABF1FB4-B69B-44D7-A2FB-F857DDDC3A61}" dt="2025-04-15T05:18:17.306" v="881" actId="47"/>
        <pc:sldMkLst>
          <pc:docMk/>
          <pc:sldMk cId="2174853723" sldId="1802"/>
        </pc:sldMkLst>
        <pc:spChg chg="mod">
          <ac:chgData name="西村 笙平(NISHIMURA Shohei)" userId="d08d2c33-9814-43fe-9d7b-ea3e5d006c86" providerId="ADAL" clId="{AABF1FB4-B69B-44D7-A2FB-F857DDDC3A61}" dt="2025-04-10T04:39:45.569" v="869"/>
          <ac:spMkLst>
            <pc:docMk/>
            <pc:sldMk cId="2174853723" sldId="1802"/>
            <ac:spMk id="21" creationId="{1CE48F07-2263-E2AB-D2E2-821FF0157F73}"/>
          </ac:spMkLst>
        </pc:spChg>
        <pc:graphicFrameChg chg="mod modGraphic">
          <ac:chgData name="西村 笙平(NISHIMURA Shohei)" userId="d08d2c33-9814-43fe-9d7b-ea3e5d006c86" providerId="ADAL" clId="{AABF1FB4-B69B-44D7-A2FB-F857DDDC3A61}" dt="2025-04-10T04:39:45.569" v="869"/>
          <ac:graphicFrameMkLst>
            <pc:docMk/>
            <pc:sldMk cId="2174853723" sldId="1802"/>
            <ac:graphicFrameMk id="16" creationId="{4328BA06-C622-B011-947E-DCBE5C9ECD51}"/>
          </ac:graphicFrameMkLst>
        </pc:graphicFrameChg>
      </pc:sldChg>
      <pc:sldChg chg="delSp modSp add del mod">
        <pc:chgData name="西村 笙平(NISHIMURA Shohei)" userId="d08d2c33-9814-43fe-9d7b-ea3e5d006c86" providerId="ADAL" clId="{AABF1FB4-B69B-44D7-A2FB-F857DDDC3A61}" dt="2025-04-15T05:32:32.402" v="884" actId="478"/>
        <pc:sldMkLst>
          <pc:docMk/>
          <pc:sldMk cId="4155459258" sldId="1803"/>
        </pc:sldMkLst>
        <pc:spChg chg="del">
          <ac:chgData name="西村 笙平(NISHIMURA Shohei)" userId="d08d2c33-9814-43fe-9d7b-ea3e5d006c86" providerId="ADAL" clId="{AABF1FB4-B69B-44D7-A2FB-F857DDDC3A61}" dt="2025-04-15T05:32:32.402" v="884" actId="478"/>
          <ac:spMkLst>
            <pc:docMk/>
            <pc:sldMk cId="4155459258" sldId="1803"/>
            <ac:spMk id="3" creationId="{992659FA-9BCC-7BE8-66D6-564C9B321D15}"/>
          </ac:spMkLst>
        </pc:spChg>
        <pc:spChg chg="mod">
          <ac:chgData name="西村 笙平(NISHIMURA Shohei)" userId="d08d2c33-9814-43fe-9d7b-ea3e5d006c86" providerId="ADAL" clId="{AABF1FB4-B69B-44D7-A2FB-F857DDDC3A61}" dt="2025-04-10T04:39:45.569" v="869"/>
          <ac:spMkLst>
            <pc:docMk/>
            <pc:sldMk cId="4155459258" sldId="1803"/>
            <ac:spMk id="8" creationId="{D7FDF8F7-1165-88FF-2A7D-D571C1D4BFAE}"/>
          </ac:spMkLst>
        </pc:spChg>
        <pc:spChg chg="mod">
          <ac:chgData name="西村 笙平(NISHIMURA Shohei)" userId="d08d2c33-9814-43fe-9d7b-ea3e5d006c86" providerId="ADAL" clId="{AABF1FB4-B69B-44D7-A2FB-F857DDDC3A61}" dt="2025-04-10T04:29:24.449" v="868" actId="1035"/>
          <ac:spMkLst>
            <pc:docMk/>
            <pc:sldMk cId="4155459258" sldId="1803"/>
            <ac:spMk id="12" creationId="{9C579815-7452-6922-211C-0C151841D94C}"/>
          </ac:spMkLst>
        </pc:spChg>
        <pc:picChg chg="mod">
          <ac:chgData name="西村 笙平(NISHIMURA Shohei)" userId="d08d2c33-9814-43fe-9d7b-ea3e5d006c86" providerId="ADAL" clId="{AABF1FB4-B69B-44D7-A2FB-F857DDDC3A61}" dt="2025-04-10T04:29:24.449" v="868" actId="1035"/>
          <ac:picMkLst>
            <pc:docMk/>
            <pc:sldMk cId="4155459258" sldId="1803"/>
            <ac:picMk id="10" creationId="{5DDFAABF-5844-7CF2-427C-9DEFCE9C4A31}"/>
          </ac:picMkLst>
        </pc:picChg>
      </pc:sldChg>
      <pc:sldChg chg="modSp add del mod">
        <pc:chgData name="西村 笙平(NISHIMURA Shohei)" userId="d08d2c33-9814-43fe-9d7b-ea3e5d006c86" providerId="ADAL" clId="{AABF1FB4-B69B-44D7-A2FB-F857DDDC3A61}" dt="2025-04-15T04:54:26.034" v="878" actId="47"/>
        <pc:sldMkLst>
          <pc:docMk/>
          <pc:sldMk cId="3494048592" sldId="1805"/>
        </pc:sldMkLst>
        <pc:graphicFrameChg chg="mod modGraphic">
          <ac:chgData name="西村 笙平(NISHIMURA Shohei)" userId="d08d2c33-9814-43fe-9d7b-ea3e5d006c86" providerId="ADAL" clId="{AABF1FB4-B69B-44D7-A2FB-F857DDDC3A61}" dt="2025-04-10T04:40:20.290" v="874" actId="20577"/>
          <ac:graphicFrameMkLst>
            <pc:docMk/>
            <pc:sldMk cId="3494048592" sldId="1805"/>
            <ac:graphicFrameMk id="8" creationId="{37C17ED4-31B5-BE1E-4D38-25AA300C4F1B}"/>
          </ac:graphicFrameMkLst>
        </pc:graphicFrameChg>
      </pc:sldChg>
      <pc:sldChg chg="modSp">
        <pc:chgData name="西村 笙平(NISHIMURA Shohei)" userId="d08d2c33-9814-43fe-9d7b-ea3e5d006c86" providerId="ADAL" clId="{AABF1FB4-B69B-44D7-A2FB-F857DDDC3A61}" dt="2025-04-10T04:39:45.569" v="869"/>
        <pc:sldMkLst>
          <pc:docMk/>
          <pc:sldMk cId="1539400230" sldId="1806"/>
        </pc:sldMkLst>
        <pc:spChg chg="mod">
          <ac:chgData name="西村 笙平(NISHIMURA Shohei)" userId="d08d2c33-9814-43fe-9d7b-ea3e5d006c86" providerId="ADAL" clId="{AABF1FB4-B69B-44D7-A2FB-F857DDDC3A61}" dt="2025-04-10T04:39:45.569" v="869"/>
          <ac:spMkLst>
            <pc:docMk/>
            <pc:sldMk cId="1539400230" sldId="1806"/>
            <ac:spMk id="21" creationId="{1CE48F07-2263-E2AB-D2E2-821FF0157F73}"/>
          </ac:spMkLst>
        </pc:spChg>
        <pc:graphicFrameChg chg="mod">
          <ac:chgData name="西村 笙平(NISHIMURA Shohei)" userId="d08d2c33-9814-43fe-9d7b-ea3e5d006c86" providerId="ADAL" clId="{AABF1FB4-B69B-44D7-A2FB-F857DDDC3A61}" dt="2025-04-10T04:39:45.569" v="869"/>
          <ac:graphicFrameMkLst>
            <pc:docMk/>
            <pc:sldMk cId="1539400230" sldId="1806"/>
            <ac:graphicFrameMk id="8" creationId="{37C17ED4-31B5-BE1E-4D38-25AA300C4F1B}"/>
          </ac:graphicFrameMkLst>
        </pc:graphicFrameChg>
      </pc:sldChg>
      <pc:sldChg chg="modSp">
        <pc:chgData name="西村 笙平(NISHIMURA Shohei)" userId="d08d2c33-9814-43fe-9d7b-ea3e5d006c86" providerId="ADAL" clId="{AABF1FB4-B69B-44D7-A2FB-F857DDDC3A61}" dt="2025-04-10T04:39:45.569" v="869"/>
        <pc:sldMkLst>
          <pc:docMk/>
          <pc:sldMk cId="3361803510" sldId="1807"/>
        </pc:sldMkLst>
        <pc:spChg chg="mod">
          <ac:chgData name="西村 笙平(NISHIMURA Shohei)" userId="d08d2c33-9814-43fe-9d7b-ea3e5d006c86" providerId="ADAL" clId="{AABF1FB4-B69B-44D7-A2FB-F857DDDC3A61}" dt="2025-04-10T04:39:45.569" v="869"/>
          <ac:spMkLst>
            <pc:docMk/>
            <pc:sldMk cId="3361803510" sldId="1807"/>
            <ac:spMk id="8" creationId="{D7FDF8F7-1165-88FF-2A7D-D571C1D4BFAE}"/>
          </ac:spMkLst>
        </pc:spChg>
      </pc:sldChg>
      <pc:sldChg chg="modSp">
        <pc:chgData name="西村 笙平(NISHIMURA Shohei)" userId="d08d2c33-9814-43fe-9d7b-ea3e5d006c86" providerId="ADAL" clId="{AABF1FB4-B69B-44D7-A2FB-F857DDDC3A61}" dt="2025-04-10T04:39:45.569" v="869"/>
        <pc:sldMkLst>
          <pc:docMk/>
          <pc:sldMk cId="2260495983" sldId="1808"/>
        </pc:sldMkLst>
        <pc:graphicFrameChg chg="mod">
          <ac:chgData name="西村 笙平(NISHIMURA Shohei)" userId="d08d2c33-9814-43fe-9d7b-ea3e5d006c86" providerId="ADAL" clId="{AABF1FB4-B69B-44D7-A2FB-F857DDDC3A61}" dt="2025-04-10T04:39:45.569" v="869"/>
          <ac:graphicFrameMkLst>
            <pc:docMk/>
            <pc:sldMk cId="2260495983" sldId="1808"/>
            <ac:graphicFrameMk id="2" creationId="{AC417C49-8970-3FBF-DACA-7F241776FB0E}"/>
          </ac:graphicFrameMkLst>
        </pc:graphicFrameChg>
      </pc:sldChg>
      <pc:sldChg chg="modSp">
        <pc:chgData name="西村 笙平(NISHIMURA Shohei)" userId="d08d2c33-9814-43fe-9d7b-ea3e5d006c86" providerId="ADAL" clId="{AABF1FB4-B69B-44D7-A2FB-F857DDDC3A61}" dt="2025-04-10T04:39:45.569" v="869"/>
        <pc:sldMkLst>
          <pc:docMk/>
          <pc:sldMk cId="2538732313" sldId="1809"/>
        </pc:sldMkLst>
        <pc:spChg chg="mod">
          <ac:chgData name="西村 笙平(NISHIMURA Shohei)" userId="d08d2c33-9814-43fe-9d7b-ea3e5d006c86" providerId="ADAL" clId="{AABF1FB4-B69B-44D7-A2FB-F857DDDC3A61}" dt="2025-04-10T04:39:45.569" v="869"/>
          <ac:spMkLst>
            <pc:docMk/>
            <pc:sldMk cId="2538732313" sldId="1809"/>
            <ac:spMk id="8" creationId="{D7FDF8F7-1165-88FF-2A7D-D571C1D4BFAE}"/>
          </ac:spMkLst>
        </pc:spChg>
      </pc:sldChg>
    </pc:docChg>
  </pc:docChgLst>
  <pc:docChgLst>
    <pc:chgData name="牧野 充希(MAKINO Atsuki)" userId="e1bb11f1-fc18-4a8c-a6ff-e197300cb8d1" providerId="ADAL" clId="{62639E53-6170-4F0D-B81B-318B9AA7474F}"/>
    <pc:docChg chg="undo custSel modSld">
      <pc:chgData name="牧野 充希(MAKINO Atsuki)" userId="e1bb11f1-fc18-4a8c-a6ff-e197300cb8d1" providerId="ADAL" clId="{62639E53-6170-4F0D-B81B-318B9AA7474F}" dt="2025-04-18T12:36:49.367" v="151" actId="14100"/>
      <pc:docMkLst>
        <pc:docMk/>
      </pc:docMkLst>
      <pc:sldChg chg="addSp delSp modSp mod">
        <pc:chgData name="牧野 充希(MAKINO Atsuki)" userId="e1bb11f1-fc18-4a8c-a6ff-e197300cb8d1" providerId="ADAL" clId="{62639E53-6170-4F0D-B81B-318B9AA7474F}" dt="2025-04-18T12:36:49.367" v="151" actId="14100"/>
        <pc:sldMkLst>
          <pc:docMk/>
          <pc:sldMk cId="786981567" sldId="1800"/>
        </pc:sldMkLst>
        <pc:spChg chg="mod">
          <ac:chgData name="牧野 充希(MAKINO Atsuki)" userId="e1bb11f1-fc18-4a8c-a6ff-e197300cb8d1" providerId="ADAL" clId="{62639E53-6170-4F0D-B81B-318B9AA7474F}" dt="2025-04-18T12:36:49.367" v="151" actId="14100"/>
          <ac:spMkLst>
            <pc:docMk/>
            <pc:sldMk cId="786981567" sldId="1800"/>
            <ac:spMk id="2" creationId="{5F2D8408-1CA6-F273-B2C3-DAE07E0C2F44}"/>
          </ac:spMkLst>
        </pc:spChg>
        <pc:spChg chg="add del">
          <ac:chgData name="牧野 充希(MAKINO Atsuki)" userId="e1bb11f1-fc18-4a8c-a6ff-e197300cb8d1" providerId="ADAL" clId="{62639E53-6170-4F0D-B81B-318B9AA7474F}" dt="2025-04-18T12:36:40.159" v="141" actId="478"/>
          <ac:spMkLst>
            <pc:docMk/>
            <pc:sldMk cId="786981567" sldId="1800"/>
            <ac:spMk id="3" creationId="{13CF5F74-B0CC-0804-84B5-AA312627120F}"/>
          </ac:spMkLst>
        </pc:spChg>
        <pc:spChg chg="mod">
          <ac:chgData name="牧野 充希(MAKINO Atsuki)" userId="e1bb11f1-fc18-4a8c-a6ff-e197300cb8d1" providerId="ADAL" clId="{62639E53-6170-4F0D-B81B-318B9AA7474F}" dt="2025-04-18T12:36:39.892" v="139" actId="20577"/>
          <ac:spMkLst>
            <pc:docMk/>
            <pc:sldMk cId="786981567" sldId="1800"/>
            <ac:spMk id="5" creationId="{81D1DB79-8583-A99E-540E-8CB4E3888F88}"/>
          </ac:spMkLst>
        </pc:spChg>
      </pc:sldChg>
    </pc:docChg>
  </pc:docChgLst>
  <pc:docChgLst>
    <pc:chgData name="青山 大介(AOYAMA Daisuke)" userId="62e5c414-f8d4-431e-801f-75ea3be37d37" providerId="ADAL" clId="{9E185482-EDA2-424D-97B1-CFF725EDFC3E}"/>
    <pc:docChg chg="undo custSel modSld">
      <pc:chgData name="青山 大介(AOYAMA Daisuke)" userId="62e5c414-f8d4-431e-801f-75ea3be37d37" providerId="ADAL" clId="{9E185482-EDA2-424D-97B1-CFF725EDFC3E}" dt="2024-12-25T04:54:50.699" v="553" actId="1076"/>
      <pc:docMkLst>
        <pc:docMk/>
      </pc:docMkLst>
      <pc:sldChg chg="modSp mod">
        <pc:chgData name="青山 大介(AOYAMA Daisuke)" userId="62e5c414-f8d4-431e-801f-75ea3be37d37" providerId="ADAL" clId="{9E185482-EDA2-424D-97B1-CFF725EDFC3E}" dt="2024-12-18T03:16:05.484" v="105" actId="20577"/>
        <pc:sldMkLst>
          <pc:docMk/>
          <pc:sldMk cId="786981567" sldId="1800"/>
        </pc:sldMkLst>
        <pc:spChg chg="mod">
          <ac:chgData name="青山 大介(AOYAMA Daisuke)" userId="62e5c414-f8d4-431e-801f-75ea3be37d37" providerId="ADAL" clId="{9E185482-EDA2-424D-97B1-CFF725EDFC3E}" dt="2024-12-18T03:16:05.484" v="105" actId="20577"/>
          <ac:spMkLst>
            <pc:docMk/>
            <pc:sldMk cId="786981567" sldId="1800"/>
            <ac:spMk id="5" creationId="{81D1DB79-8583-A99E-540E-8CB4E3888F88}"/>
          </ac:spMkLst>
        </pc:spChg>
      </pc:sldChg>
      <pc:sldChg chg="modSp mod">
        <pc:chgData name="青山 大介(AOYAMA Daisuke)" userId="62e5c414-f8d4-431e-801f-75ea3be37d37" providerId="ADAL" clId="{9E185482-EDA2-424D-97B1-CFF725EDFC3E}" dt="2024-12-18T03:38:47.960" v="267" actId="20577"/>
        <pc:sldMkLst>
          <pc:docMk/>
          <pc:sldMk cId="1731062681" sldId="1801"/>
        </pc:sldMkLst>
        <pc:graphicFrameChg chg="mod modGraphic">
          <ac:chgData name="青山 大介(AOYAMA Daisuke)" userId="62e5c414-f8d4-431e-801f-75ea3be37d37" providerId="ADAL" clId="{9E185482-EDA2-424D-97B1-CFF725EDFC3E}" dt="2024-12-18T03:38:47.960" v="267" actId="20577"/>
          <ac:graphicFrameMkLst>
            <pc:docMk/>
            <pc:sldMk cId="1731062681" sldId="1801"/>
            <ac:graphicFrameMk id="8" creationId="{37C17ED4-31B5-BE1E-4D38-25AA300C4F1B}"/>
          </ac:graphicFrameMkLst>
        </pc:graphicFrameChg>
      </pc:sldChg>
      <pc:sldChg chg="addSp delSp modSp mod">
        <pc:chgData name="青山 大介(AOYAMA Daisuke)" userId="62e5c414-f8d4-431e-801f-75ea3be37d37" providerId="ADAL" clId="{9E185482-EDA2-424D-97B1-CFF725EDFC3E}" dt="2024-12-25T04:54:50.699" v="553" actId="1076"/>
        <pc:sldMkLst>
          <pc:docMk/>
          <pc:sldMk cId="2174853723" sldId="1802"/>
        </pc:sldMkLst>
        <pc:spChg chg="del">
          <ac:chgData name="青山 大介(AOYAMA Daisuke)" userId="62e5c414-f8d4-431e-801f-75ea3be37d37" providerId="ADAL" clId="{9E185482-EDA2-424D-97B1-CFF725EDFC3E}" dt="2024-12-18T03:14:41.471" v="87" actId="478"/>
          <ac:spMkLst>
            <pc:docMk/>
            <pc:sldMk cId="2174853723" sldId="1802"/>
            <ac:spMk id="10" creationId="{35543A15-5B1D-8CB3-2CC6-E1EA7F2D4B43}"/>
          </ac:spMkLst>
        </pc:spChg>
        <pc:spChg chg="add mod">
          <ac:chgData name="青山 大介(AOYAMA Daisuke)" userId="62e5c414-f8d4-431e-801f-75ea3be37d37" providerId="ADAL" clId="{9E185482-EDA2-424D-97B1-CFF725EDFC3E}" dt="2024-12-25T04:54:50.699" v="553" actId="1076"/>
          <ac:spMkLst>
            <pc:docMk/>
            <pc:sldMk cId="2174853723" sldId="1802"/>
            <ac:spMk id="10" creationId="{AE83D439-A02B-2203-E29F-63C55A204C31}"/>
          </ac:spMkLst>
        </pc:spChg>
        <pc:spChg chg="mod">
          <ac:chgData name="青山 大介(AOYAMA Daisuke)" userId="62e5c414-f8d4-431e-801f-75ea3be37d37" providerId="ADAL" clId="{9E185482-EDA2-424D-97B1-CFF725EDFC3E}" dt="2024-12-18T03:44:03.321" v="520" actId="1076"/>
          <ac:spMkLst>
            <pc:docMk/>
            <pc:sldMk cId="2174853723" sldId="1802"/>
            <ac:spMk id="14" creationId="{335D6C43-1401-4A58-26FF-C604454F13FF}"/>
          </ac:spMkLst>
        </pc:spChg>
        <pc:spChg chg="mod">
          <ac:chgData name="青山 大介(AOYAMA Daisuke)" userId="62e5c414-f8d4-431e-801f-75ea3be37d37" providerId="ADAL" clId="{9E185482-EDA2-424D-97B1-CFF725EDFC3E}" dt="2024-12-18T03:43:57.380" v="519" actId="1076"/>
          <ac:spMkLst>
            <pc:docMk/>
            <pc:sldMk cId="2174853723" sldId="1802"/>
            <ac:spMk id="15" creationId="{AB215C18-256D-7CEE-E7C8-D402A51CD974}"/>
          </ac:spMkLst>
        </pc:spChg>
        <pc:spChg chg="mod">
          <ac:chgData name="青山 大介(AOYAMA Daisuke)" userId="62e5c414-f8d4-431e-801f-75ea3be37d37" providerId="ADAL" clId="{9E185482-EDA2-424D-97B1-CFF725EDFC3E}" dt="2024-12-18T03:41:57.775" v="439" actId="179"/>
          <ac:spMkLst>
            <pc:docMk/>
            <pc:sldMk cId="2174853723" sldId="1802"/>
            <ac:spMk id="21" creationId="{1CE48F07-2263-E2AB-D2E2-821FF0157F73}"/>
          </ac:spMkLst>
        </pc:spChg>
        <pc:spChg chg="mod">
          <ac:chgData name="青山 大介(AOYAMA Daisuke)" userId="62e5c414-f8d4-431e-801f-75ea3be37d37" providerId="ADAL" clId="{9E185482-EDA2-424D-97B1-CFF725EDFC3E}" dt="2024-12-25T04:47:49.935" v="526" actId="20577"/>
          <ac:spMkLst>
            <pc:docMk/>
            <pc:sldMk cId="2174853723" sldId="1802"/>
            <ac:spMk id="25" creationId="{6E42A63F-2890-CD55-BF86-10D64ABE91F0}"/>
          </ac:spMkLst>
        </pc:spChg>
        <pc:graphicFrameChg chg="del modGraphic">
          <ac:chgData name="青山 大介(AOYAMA Daisuke)" userId="62e5c414-f8d4-431e-801f-75ea3be37d37" providerId="ADAL" clId="{9E185482-EDA2-424D-97B1-CFF725EDFC3E}" dt="2024-12-18T03:39:26.260" v="270" actId="478"/>
          <ac:graphicFrameMkLst>
            <pc:docMk/>
            <pc:sldMk cId="2174853723" sldId="1802"/>
            <ac:graphicFrameMk id="8" creationId="{37C17ED4-31B5-BE1E-4D38-25AA300C4F1B}"/>
          </ac:graphicFrameMkLst>
        </pc:graphicFrameChg>
        <pc:graphicFrameChg chg="add mod ord">
          <ac:chgData name="青山 大介(AOYAMA Daisuke)" userId="62e5c414-f8d4-431e-801f-75ea3be37d37" providerId="ADAL" clId="{9E185482-EDA2-424D-97B1-CFF725EDFC3E}" dt="2024-12-18T03:39:38.042" v="272" actId="167"/>
          <ac:graphicFrameMkLst>
            <pc:docMk/>
            <pc:sldMk cId="2174853723" sldId="1802"/>
            <ac:graphicFrameMk id="16" creationId="{4328BA06-C622-B011-947E-DCBE5C9ECD51}"/>
          </ac:graphicFrameMkLst>
        </pc:graphicFrameChg>
        <pc:graphicFrameChg chg="del">
          <ac:chgData name="青山 大介(AOYAMA Daisuke)" userId="62e5c414-f8d4-431e-801f-75ea3be37d37" providerId="ADAL" clId="{9E185482-EDA2-424D-97B1-CFF725EDFC3E}" dt="2024-12-25T04:54:43.940" v="550" actId="478"/>
          <ac:graphicFrameMkLst>
            <pc:docMk/>
            <pc:sldMk cId="2174853723" sldId="1802"/>
            <ac:graphicFrameMk id="27" creationId="{5854502F-3CF4-C0E0-573D-8CEB2F7A9B1F}"/>
          </ac:graphicFrameMkLst>
        </pc:graphicFrameChg>
        <pc:picChg chg="add mod">
          <ac:chgData name="青山 大介(AOYAMA Daisuke)" userId="62e5c414-f8d4-431e-801f-75ea3be37d37" providerId="ADAL" clId="{9E185482-EDA2-424D-97B1-CFF725EDFC3E}" dt="2024-12-25T04:54:50.699" v="553" actId="1076"/>
          <ac:picMkLst>
            <pc:docMk/>
            <pc:sldMk cId="2174853723" sldId="1802"/>
            <ac:picMk id="8" creationId="{00D4F10C-B18B-7776-588A-4A375C0A50E6}"/>
          </ac:picMkLst>
        </pc:picChg>
      </pc:sldChg>
      <pc:sldChg chg="addSp delSp modSp mod">
        <pc:chgData name="青山 大介(AOYAMA Daisuke)" userId="62e5c414-f8d4-431e-801f-75ea3be37d37" providerId="ADAL" clId="{9E185482-EDA2-424D-97B1-CFF725EDFC3E}" dt="2024-12-25T04:52:59.456" v="549" actId="14100"/>
        <pc:sldMkLst>
          <pc:docMk/>
          <pc:sldMk cId="4155459258" sldId="1803"/>
        </pc:sldMkLst>
        <pc:spChg chg="mod">
          <ac:chgData name="青山 大介(AOYAMA Daisuke)" userId="62e5c414-f8d4-431e-801f-75ea3be37d37" providerId="ADAL" clId="{9E185482-EDA2-424D-97B1-CFF725EDFC3E}" dt="2024-12-18T03:43:10.921" v="457" actId="20577"/>
          <ac:spMkLst>
            <pc:docMk/>
            <pc:sldMk cId="4155459258" sldId="1803"/>
            <ac:spMk id="8" creationId="{D7FDF8F7-1165-88FF-2A7D-D571C1D4BFAE}"/>
          </ac:spMkLst>
        </pc:spChg>
        <pc:spChg chg="add mod">
          <ac:chgData name="青山 大介(AOYAMA Daisuke)" userId="62e5c414-f8d4-431e-801f-75ea3be37d37" providerId="ADAL" clId="{9E185482-EDA2-424D-97B1-CFF725EDFC3E}" dt="2024-12-25T04:52:59.456" v="549" actId="14100"/>
          <ac:spMkLst>
            <pc:docMk/>
            <pc:sldMk cId="4155459258" sldId="1803"/>
            <ac:spMk id="12" creationId="{9C579815-7452-6922-211C-0C151841D94C}"/>
          </ac:spMkLst>
        </pc:spChg>
        <pc:graphicFrameChg chg="del mod">
          <ac:chgData name="青山 大介(AOYAMA Daisuke)" userId="62e5c414-f8d4-431e-801f-75ea3be37d37" providerId="ADAL" clId="{9E185482-EDA2-424D-97B1-CFF725EDFC3E}" dt="2024-12-25T04:52:19.314" v="542" actId="478"/>
          <ac:graphicFrameMkLst>
            <pc:docMk/>
            <pc:sldMk cId="4155459258" sldId="1803"/>
            <ac:graphicFrameMk id="11" creationId="{ACF7D667-AD41-DFCA-B65A-E63FABE01CF7}"/>
          </ac:graphicFrameMkLst>
        </pc:graphicFrameChg>
        <pc:picChg chg="add del mod">
          <ac:chgData name="青山 大介(AOYAMA Daisuke)" userId="62e5c414-f8d4-431e-801f-75ea3be37d37" providerId="ADAL" clId="{9E185482-EDA2-424D-97B1-CFF725EDFC3E}" dt="2024-12-25T04:51:06.508" v="532" actId="478"/>
          <ac:picMkLst>
            <pc:docMk/>
            <pc:sldMk cId="4155459258" sldId="1803"/>
            <ac:picMk id="5" creationId="{3758D3EE-4D2F-CF41-31EC-D0C1B9EA000D}"/>
          </ac:picMkLst>
        </pc:picChg>
        <pc:picChg chg="add del mod">
          <ac:chgData name="青山 大介(AOYAMA Daisuke)" userId="62e5c414-f8d4-431e-801f-75ea3be37d37" providerId="ADAL" clId="{9E185482-EDA2-424D-97B1-CFF725EDFC3E}" dt="2024-12-25T04:51:30.639" v="537" actId="478"/>
          <ac:picMkLst>
            <pc:docMk/>
            <pc:sldMk cId="4155459258" sldId="1803"/>
            <ac:picMk id="7" creationId="{24CE2BAD-633C-2CDE-0788-C573C02042C6}"/>
          </ac:picMkLst>
        </pc:picChg>
        <pc:picChg chg="add mod">
          <ac:chgData name="青山 大介(AOYAMA Daisuke)" userId="62e5c414-f8d4-431e-801f-75ea3be37d37" providerId="ADAL" clId="{9E185482-EDA2-424D-97B1-CFF725EDFC3E}" dt="2024-12-25T04:52:11.269" v="540" actId="14100"/>
          <ac:picMkLst>
            <pc:docMk/>
            <pc:sldMk cId="4155459258" sldId="1803"/>
            <ac:picMk id="10" creationId="{5DDFAABF-5844-7CF2-427C-9DEFCE9C4A31}"/>
          </ac:picMkLst>
        </pc:picChg>
      </pc:sldChg>
    </pc:docChg>
  </pc:docChgLst>
  <pc:docChgLst>
    <pc:chgData name="牧野 充希(MAKINO Atsuki)" userId="e1bb11f1-fc18-4a8c-a6ff-e197300cb8d1" providerId="ADAL" clId="{D3B104FC-EBC2-4C08-B74D-ED4378F5DADF}"/>
    <pc:docChg chg="undo custSel addSld modSld modSection">
      <pc:chgData name="牧野 充希(MAKINO Atsuki)" userId="e1bb11f1-fc18-4a8c-a6ff-e197300cb8d1" providerId="ADAL" clId="{D3B104FC-EBC2-4C08-B74D-ED4378F5DADF}" dt="2025-04-10T08:59:16.399" v="253" actId="20577"/>
      <pc:docMkLst>
        <pc:docMk/>
      </pc:docMkLst>
      <pc:sldChg chg="modSp mod">
        <pc:chgData name="牧野 充希(MAKINO Atsuki)" userId="e1bb11f1-fc18-4a8c-a6ff-e197300cb8d1" providerId="ADAL" clId="{D3B104FC-EBC2-4C08-B74D-ED4378F5DADF}" dt="2025-04-10T08:58:13.771" v="138" actId="20577"/>
        <pc:sldMkLst>
          <pc:docMk/>
          <pc:sldMk cId="1731062681" sldId="1801"/>
        </pc:sldMkLst>
        <pc:graphicFrameChg chg="mod modGraphic">
          <ac:chgData name="牧野 充希(MAKINO Atsuki)" userId="e1bb11f1-fc18-4a8c-a6ff-e197300cb8d1" providerId="ADAL" clId="{D3B104FC-EBC2-4C08-B74D-ED4378F5DADF}" dt="2025-04-10T08:58:13.771" v="138" actId="20577"/>
          <ac:graphicFrameMkLst>
            <pc:docMk/>
            <pc:sldMk cId="1731062681" sldId="1801"/>
            <ac:graphicFrameMk id="8" creationId="{37C17ED4-31B5-BE1E-4D38-25AA300C4F1B}"/>
          </ac:graphicFrameMkLst>
        </pc:graphicFrameChg>
      </pc:sldChg>
      <pc:sldChg chg="modSp add mod">
        <pc:chgData name="牧野 充希(MAKINO Atsuki)" userId="e1bb11f1-fc18-4a8c-a6ff-e197300cb8d1" providerId="ADAL" clId="{D3B104FC-EBC2-4C08-B74D-ED4378F5DADF}" dt="2025-04-10T08:59:16.399" v="253" actId="20577"/>
        <pc:sldMkLst>
          <pc:docMk/>
          <pc:sldMk cId="239995315" sldId="1810"/>
        </pc:sldMkLst>
        <pc:graphicFrameChg chg="modGraphic">
          <ac:chgData name="牧野 充希(MAKINO Atsuki)" userId="e1bb11f1-fc18-4a8c-a6ff-e197300cb8d1" providerId="ADAL" clId="{D3B104FC-EBC2-4C08-B74D-ED4378F5DADF}" dt="2025-04-10T08:59:16.399" v="253" actId="20577"/>
          <ac:graphicFrameMkLst>
            <pc:docMk/>
            <pc:sldMk cId="239995315" sldId="1810"/>
            <ac:graphicFrameMk id="8" creationId="{37C17ED4-31B5-BE1E-4D38-25AA300C4F1B}"/>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50529" cy="497524"/>
          </a:xfrm>
          <a:prstGeom prst="rect">
            <a:avLst/>
          </a:prstGeom>
        </p:spPr>
        <p:txBody>
          <a:bodyPr vert="horz" lIns="91559" tIns="45779" rIns="91559" bIns="45779"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082" y="0"/>
            <a:ext cx="2950529" cy="497524"/>
          </a:xfrm>
          <a:prstGeom prst="rect">
            <a:avLst/>
          </a:prstGeom>
        </p:spPr>
        <p:txBody>
          <a:bodyPr vert="horz" lIns="91559" tIns="45779" rIns="91559" bIns="45779" rtlCol="0"/>
          <a:lstStyle>
            <a:lvl1pPr algn="r">
              <a:defRPr sz="1200"/>
            </a:lvl1pPr>
          </a:lstStyle>
          <a:p>
            <a:fld id="{17837479-F167-46A9-91DE-D29DC0E07EEF}" type="datetimeFigureOut">
              <a:rPr kumimoji="1" lang="ja-JP" altLang="en-US" smtClean="0"/>
              <a:t>2025/6/24</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559" tIns="45779" rIns="91559" bIns="45779" rtlCol="0" anchor="ctr"/>
          <a:lstStyle/>
          <a:p>
            <a:endParaRPr lang="ja-JP" altLang="en-US"/>
          </a:p>
        </p:txBody>
      </p:sp>
      <p:sp>
        <p:nvSpPr>
          <p:cNvPr id="5" name="ノート プレースホルダー 4"/>
          <p:cNvSpPr>
            <a:spLocks noGrp="1"/>
          </p:cNvSpPr>
          <p:nvPr>
            <p:ph type="body" sz="quarter" idx="3"/>
          </p:nvPr>
        </p:nvSpPr>
        <p:spPr>
          <a:xfrm>
            <a:off x="680403" y="4782900"/>
            <a:ext cx="5446396" cy="3913425"/>
          </a:xfrm>
          <a:prstGeom prst="rect">
            <a:avLst/>
          </a:prstGeom>
        </p:spPr>
        <p:txBody>
          <a:bodyPr vert="horz" lIns="91559" tIns="45779" rIns="91559" bIns="4577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1814"/>
            <a:ext cx="2950529" cy="497524"/>
          </a:xfrm>
          <a:prstGeom prst="rect">
            <a:avLst/>
          </a:prstGeom>
        </p:spPr>
        <p:txBody>
          <a:bodyPr vert="horz" lIns="91559" tIns="45779" rIns="91559" bIns="45779"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082" y="9441814"/>
            <a:ext cx="2950529" cy="497524"/>
          </a:xfrm>
          <a:prstGeom prst="rect">
            <a:avLst/>
          </a:prstGeom>
        </p:spPr>
        <p:txBody>
          <a:bodyPr vert="horz" lIns="91559" tIns="45779" rIns="91559" bIns="45779" rtlCol="0" anchor="b"/>
          <a:lstStyle>
            <a:lvl1pPr algn="r">
              <a:defRPr sz="1200"/>
            </a:lvl1pPr>
          </a:lstStyle>
          <a:p>
            <a:fld id="{5A09B3C7-3239-4625-8436-E6A709F012B8}" type="slidenum">
              <a:rPr kumimoji="1" lang="ja-JP" altLang="en-US" smtClean="0"/>
              <a:t>‹#›</a:t>
            </a:fld>
            <a:endParaRPr kumimoji="1" lang="ja-JP" altLang="en-US"/>
          </a:p>
        </p:txBody>
      </p:sp>
    </p:spTree>
    <p:extLst>
      <p:ext uri="{BB962C8B-B14F-4D97-AF65-F5344CB8AC3E}">
        <p14:creationId xmlns:p14="http://schemas.microsoft.com/office/powerpoint/2010/main" val="76636381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2">
              <a:alpha val="40000"/>
            </a:schemeClr>
          </a:solidFill>
          <a:ln w="952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018637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B560C01-06A1-A163-D5BA-E32CF5899E12}"/>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42E7C34-522B-0110-F057-013D5CBFB299}"/>
              </a:ext>
            </a:extLst>
          </p:cNvPr>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48CB8276-2F02-86AA-4761-DEBD748E7DB8}"/>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5" name="フッター プレースホルダー 4">
            <a:extLst>
              <a:ext uri="{FF2B5EF4-FFF2-40B4-BE49-F238E27FC236}">
                <a16:creationId xmlns:a16="http://schemas.microsoft.com/office/drawing/2014/main" id="{5BDB391A-E4F3-16FE-0DB7-841361CCB54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8F9B42A-EDA7-6410-5551-5CE3C2172192}"/>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8270905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4B08F37-66A6-7609-93B4-C672F569BFE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FA8512-50F2-E102-C554-6D300C5ED0E8}"/>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59C3A24-C601-DD85-C23B-C05FA645EE52}"/>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5ABA329-96A0-CB63-EFE5-0654FC68B15D}"/>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6" name="フッター プレースホルダー 5">
            <a:extLst>
              <a:ext uri="{FF2B5EF4-FFF2-40B4-BE49-F238E27FC236}">
                <a16:creationId xmlns:a16="http://schemas.microsoft.com/office/drawing/2014/main" id="{3D897446-E052-D845-5C19-9E5932917A1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3DE5295-93B3-6EF7-C4E3-AB9786089D1F}"/>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59693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B545AC2-4C8F-2861-A9C8-BF01F1365DBE}"/>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57AEEFB-014D-05BB-4AF6-6B668CCEA027}"/>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A30470D-EFB2-CA9B-B124-4B1E65FE5D5A}"/>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82CE0DF-012A-6BD8-CC58-2E0EA9137581}"/>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A3C3C357-0157-23E6-A181-CD77B66DA108}"/>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E2ACD90-711E-2946-DC15-35A0684D260D}"/>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8" name="フッター プレースホルダー 7">
            <a:extLst>
              <a:ext uri="{FF2B5EF4-FFF2-40B4-BE49-F238E27FC236}">
                <a16:creationId xmlns:a16="http://schemas.microsoft.com/office/drawing/2014/main" id="{C7E1B447-53AF-219C-7A27-884C303E22D8}"/>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10C5A81E-5539-11E4-977C-2B67062559F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688510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8746C8-549D-EB75-5EC3-98E3C59C688E}"/>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C4D69DA2-213D-6BD3-DA5F-E7F836752E38}"/>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4" name="フッター プレースホルダー 3">
            <a:extLst>
              <a:ext uri="{FF2B5EF4-FFF2-40B4-BE49-F238E27FC236}">
                <a16:creationId xmlns:a16="http://schemas.microsoft.com/office/drawing/2014/main" id="{E421E2FD-94F6-E6B3-6438-0BC4176935D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C01B44B2-3403-790E-2575-2373BA4B49C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760046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0EF4A14-9697-756C-DE1E-23F55F5199F7}"/>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3" name="フッター プレースホルダー 2">
            <a:extLst>
              <a:ext uri="{FF2B5EF4-FFF2-40B4-BE49-F238E27FC236}">
                <a16:creationId xmlns:a16="http://schemas.microsoft.com/office/drawing/2014/main" id="{41887799-4FDD-55FD-05C8-06427FEAF0ED}"/>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4E043EA-6CA2-0360-EB86-AA459F204175}"/>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079250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83AB58-2E83-6A33-C3ED-21ADA5259AE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67324E4-88FE-FCF6-D8A8-A74D1412B5A1}"/>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6957D19-F7C3-002F-93DD-626C828A775A}"/>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96D689F-5BE9-4036-BE9D-E5A303F353C4}"/>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6" name="フッター プレースホルダー 5">
            <a:extLst>
              <a:ext uri="{FF2B5EF4-FFF2-40B4-BE49-F238E27FC236}">
                <a16:creationId xmlns:a16="http://schemas.microsoft.com/office/drawing/2014/main" id="{0AEA9A97-31BB-681B-B611-84B0DC12187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942E953-695D-0D38-9E79-9E350761F49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53728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FEACF9D-D1B3-532E-9BDF-C61331A6B42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8BD5ACE6-9B17-FF3C-20F8-1156B0B629A6}"/>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FACCC17-C86E-83A3-27CC-80DC220F9EF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53ABD50C-C609-8025-4856-9AA643B33965}"/>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6" name="フッター プレースホルダー 5">
            <a:extLst>
              <a:ext uri="{FF2B5EF4-FFF2-40B4-BE49-F238E27FC236}">
                <a16:creationId xmlns:a16="http://schemas.microsoft.com/office/drawing/2014/main" id="{72855E51-BD1E-489A-3A81-F33D06A43E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EA793E5-2704-4559-EDA4-08584095AFA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729453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610385-3531-8BEB-FA75-B135E9EECAD4}"/>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67CE8E6-977A-9F3A-D91D-2C018B381B71}"/>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7BDE191-EB0C-9956-4675-7B7C938DAA90}"/>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5" name="フッター プレースホルダー 4">
            <a:extLst>
              <a:ext uri="{FF2B5EF4-FFF2-40B4-BE49-F238E27FC236}">
                <a16:creationId xmlns:a16="http://schemas.microsoft.com/office/drawing/2014/main" id="{3B2469FB-AB60-FDD6-2951-D09C3598D19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9C0293-4FCA-EF66-ACEC-66EF66AE7F9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0398233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0FD8AE1-8568-4FCF-3859-B71EC4803358}"/>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2679ED7F-5894-DEB0-35E7-EDF0A5FDBE8B}"/>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BBBEB66-3EF9-8911-3982-D9A96C225450}"/>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5" name="フッター プレースホルダー 4">
            <a:extLst>
              <a:ext uri="{FF2B5EF4-FFF2-40B4-BE49-F238E27FC236}">
                <a16:creationId xmlns:a16="http://schemas.microsoft.com/office/drawing/2014/main" id="{E8285B19-61AD-7DFC-FEC9-E2B76284F6D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40B56F2-A782-F5D3-AE71-4C70FCD49C1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273834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6">
              <a:lumMod val="40000"/>
              <a:lumOff val="60000"/>
              <a:alpha val="40000"/>
            </a:schemeClr>
          </a:solidFill>
          <a:ln w="9525">
            <a:solidFill>
              <a:schemeClr val="accent6">
                <a:lumMod val="40000"/>
                <a:lumOff val="60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233084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000" y="2060576"/>
            <a:ext cx="8892000" cy="4105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Title 3">
            <a:extLst>
              <a:ext uri="{FF2B5EF4-FFF2-40B4-BE49-F238E27FC236}">
                <a16:creationId xmlns:a16="http://schemas.microsoft.com/office/drawing/2014/main" id="{776FB90E-F37C-5341-AEB0-5E882FB00C69}"/>
              </a:ext>
            </a:extLst>
          </p:cNvPr>
          <p:cNvSpPr>
            <a:spLocks noGrp="1"/>
          </p:cNvSpPr>
          <p:nvPr>
            <p:ph type="title" hasCustomPrompt="1"/>
          </p:nvPr>
        </p:nvSpPr>
        <p:spPr>
          <a:xfrm>
            <a:off x="507000" y="404813"/>
            <a:ext cx="8892000" cy="1368425"/>
          </a:xfrm>
        </p:spPr>
        <p:txBody>
          <a:bodyPr/>
          <a:lstStyle>
            <a:lvl1pPr>
              <a:defRPr/>
            </a:lvl1pPr>
          </a:lstStyle>
          <a:p>
            <a:r>
              <a:rPr lang="en-US"/>
              <a:t>[Slide title]</a:t>
            </a:r>
          </a:p>
        </p:txBody>
      </p:sp>
    </p:spTree>
    <p:extLst>
      <p:ext uri="{BB962C8B-B14F-4D97-AF65-F5344CB8AC3E}">
        <p14:creationId xmlns:p14="http://schemas.microsoft.com/office/powerpoint/2010/main" val="2727287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Title 2">
            <a:extLst>
              <a:ext uri="{FF2B5EF4-FFF2-40B4-BE49-F238E27FC236}">
                <a16:creationId xmlns:a16="http://schemas.microsoft.com/office/drawing/2014/main" id="{8CC116CF-C359-0344-A999-AE9F54D6B302}"/>
              </a:ext>
            </a:extLst>
          </p:cNvPr>
          <p:cNvSpPr>
            <a:spLocks noGrp="1"/>
          </p:cNvSpPr>
          <p:nvPr>
            <p:ph type="title" hasCustomPrompt="1"/>
          </p:nvPr>
        </p:nvSpPr>
        <p:spPr/>
        <p:txBody>
          <a:bodyPr/>
          <a:lstStyle>
            <a:lvl1pPr>
              <a:defRPr/>
            </a:lvl1pPr>
          </a:lstStyle>
          <a:p>
            <a:r>
              <a:rPr lang="en-US"/>
              <a:t>[Slide title]</a:t>
            </a:r>
          </a:p>
        </p:txBody>
      </p:sp>
    </p:spTree>
    <p:extLst>
      <p:ext uri="{BB962C8B-B14F-4D97-AF65-F5344CB8AC3E}">
        <p14:creationId xmlns:p14="http://schemas.microsoft.com/office/powerpoint/2010/main" val="4204234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5" name="テキスト プレースホルダー 10">
            <a:extLst>
              <a:ext uri="{FF2B5EF4-FFF2-40B4-BE49-F238E27FC236}">
                <a16:creationId xmlns:a16="http://schemas.microsoft.com/office/drawing/2014/main" id="{3B05E39B-8BE4-42A3-9767-1A31E82336B7}"/>
              </a:ext>
            </a:extLst>
          </p:cNvPr>
          <p:cNvSpPr>
            <a:spLocks noGrp="1"/>
          </p:cNvSpPr>
          <p:nvPr>
            <p:ph type="body" sz="quarter" idx="12"/>
          </p:nvPr>
        </p:nvSpPr>
        <p:spPr>
          <a:xfrm>
            <a:off x="740532" y="2636912"/>
            <a:ext cx="7956884" cy="432046"/>
          </a:xfrm>
        </p:spPr>
        <p:txBody>
          <a:bodyPr/>
          <a:lstStyle>
            <a:lvl1pPr>
              <a:spcAft>
                <a:spcPts val="600"/>
              </a:spcAft>
              <a:defRPr sz="2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pic>
        <p:nvPicPr>
          <p:cNvPr id="8" name="図 7">
            <a:extLst>
              <a:ext uri="{FF2B5EF4-FFF2-40B4-BE49-F238E27FC236}">
                <a16:creationId xmlns:a16="http://schemas.microsoft.com/office/drawing/2014/main" id="{C927317A-4728-4709-9304-87479DCCF035}"/>
              </a:ext>
            </a:extLst>
          </p:cNvPr>
          <p:cNvPicPr>
            <a:picLocks noChangeAspect="1"/>
          </p:cNvPicPr>
          <p:nvPr userDrawn="1"/>
        </p:nvPicPr>
        <p:blipFill>
          <a:blip r:embed="rId2"/>
          <a:stretch>
            <a:fillRect/>
          </a:stretch>
        </p:blipFill>
        <p:spPr>
          <a:xfrm>
            <a:off x="662524" y="3068959"/>
            <a:ext cx="5304589" cy="226992"/>
          </a:xfrm>
          <a:prstGeom prst="rect">
            <a:avLst/>
          </a:prstGeom>
        </p:spPr>
      </p:pic>
    </p:spTree>
    <p:extLst>
      <p:ext uri="{BB962C8B-B14F-4D97-AF65-F5344CB8AC3E}">
        <p14:creationId xmlns:p14="http://schemas.microsoft.com/office/powerpoint/2010/main" val="3528420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689660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1"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36496" y="6593400"/>
            <a:ext cx="180000" cy="169200"/>
          </a:xfrm>
        </p:spPr>
        <p:txBody>
          <a:bodyPr anchor="ctr"/>
          <a:lstStyle>
            <a:lvl1pPr>
              <a:defRPr sz="1050" baseline="0">
                <a:solidFill>
                  <a:schemeClr val="tx1"/>
                </a:solidFill>
                <a:latin typeface="Meiryo UI" panose="020B0604030504040204" pitchFamily="50" charset="-128"/>
                <a:ea typeface="Meiryo UI" panose="020B0604030504040204" pitchFamily="50" charset="-128"/>
                <a:cs typeface="+mn-cs"/>
                <a:sym typeface="+mn-lt"/>
              </a:defRPr>
            </a:lvl1pPr>
          </a:lstStyle>
          <a:p>
            <a:pPr marL="0" marR="0" lvl="0" indent="0" algn="l" defTabSz="457034" rtl="0" eaLnBrk="1" fontAlgn="auto" latinLnBrk="0" hangingPunct="1">
              <a:lnSpc>
                <a:spcPct val="100000"/>
              </a:lnSpc>
              <a:spcBef>
                <a:spcPts val="0"/>
              </a:spcBef>
              <a:spcAft>
                <a:spcPts val="0"/>
              </a:spcAft>
              <a:buClrTx/>
              <a:buSzTx/>
              <a:buFontTx/>
              <a:buNone/>
              <a:tabLst/>
              <a:defRPr/>
            </a:pPr>
            <a:fld id="{543A0986-838B-4D2A-A95C-8CB1738263FE}" type="slidenum">
              <a:rPr kumimoji="0" lang="ja-JP" altLang="en-US" sz="105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sym typeface="+mn-lt"/>
              </a:rPr>
              <a:pPr marL="0" marR="0" lvl="0" indent="0" algn="l" defTabSz="457034" rtl="0" eaLnBrk="1" fontAlgn="auto" latinLnBrk="0" hangingPunct="1">
                <a:lnSpc>
                  <a:spcPct val="100000"/>
                </a:lnSpc>
                <a:spcBef>
                  <a:spcPts val="0"/>
                </a:spcBef>
                <a:spcAft>
                  <a:spcPts val="0"/>
                </a:spcAft>
                <a:buClrTx/>
                <a:buSzTx/>
                <a:buFontTx/>
                <a:buNone/>
                <a:tabLst/>
                <a:defRPr/>
              </a:pPr>
              <a:t>‹#›</a:t>
            </a:fld>
            <a:endPar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mn-lt"/>
            </a:endParaRPr>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0499242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568ACA-D2E4-4482-2BD9-DAB7633D8C3B}"/>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843FB25-6DB9-5AE9-EBA6-99776168CC59}"/>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413F7680-3B70-9DD4-230A-80D58E0EE3C5}"/>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5" name="フッター プレースホルダー 4">
            <a:extLst>
              <a:ext uri="{FF2B5EF4-FFF2-40B4-BE49-F238E27FC236}">
                <a16:creationId xmlns:a16="http://schemas.microsoft.com/office/drawing/2014/main" id="{76AB1268-44E9-715B-7017-C48D9593C42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D6E6843-8558-B6BE-AA8D-3DCEC0D7020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1243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2AE054-FE86-8B86-CAF4-190540493562}"/>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6B280EA-5C0F-D77A-2D91-FA8F3FC15BF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C566547-7CC3-ADF8-FA2B-F8EA9CEA2B1E}"/>
              </a:ext>
            </a:extLst>
          </p:cNvPr>
          <p:cNvSpPr>
            <a:spLocks noGrp="1"/>
          </p:cNvSpPr>
          <p:nvPr>
            <p:ph type="dt" sz="half" idx="10"/>
          </p:nvPr>
        </p:nvSpPr>
        <p:spPr/>
        <p:txBody>
          <a:bodyPr/>
          <a:lstStyle/>
          <a:p>
            <a:fld id="{A144AB3D-1057-4AB6-87D1-2B0FE264E624}" type="datetimeFigureOut">
              <a:rPr kumimoji="1" lang="ja-JP" altLang="en-US" smtClean="0"/>
              <a:t>2025/6/24</a:t>
            </a:fld>
            <a:endParaRPr kumimoji="1" lang="ja-JP" altLang="en-US"/>
          </a:p>
        </p:txBody>
      </p:sp>
      <p:sp>
        <p:nvSpPr>
          <p:cNvPr id="5" name="フッター プレースホルダー 4">
            <a:extLst>
              <a:ext uri="{FF2B5EF4-FFF2-40B4-BE49-F238E27FC236}">
                <a16:creationId xmlns:a16="http://schemas.microsoft.com/office/drawing/2014/main" id="{7F222A2C-79C8-D182-11D8-2635CA01B08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F8E54A-E949-FF7E-E2BB-B2197248522A}"/>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311129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6662" y="404813"/>
            <a:ext cx="8892000" cy="1368425"/>
          </a:xfrm>
          <a:prstGeom prst="rect">
            <a:avLst/>
          </a:prstGeom>
        </p:spPr>
        <p:txBody>
          <a:bodyPr vert="horz" lIns="0" tIns="0" rIns="0" bIns="0" rtlCol="0" anchor="t" anchorCtr="0">
            <a:noAutofit/>
          </a:bodyPr>
          <a:lstStyle/>
          <a:p>
            <a:r>
              <a:rPr lang="en-US"/>
              <a:t>[Slide title]</a:t>
            </a:r>
            <a:endParaRPr lang="en-GB"/>
          </a:p>
        </p:txBody>
      </p:sp>
      <p:sp>
        <p:nvSpPr>
          <p:cNvPr id="3" name="Text Placeholder 2"/>
          <p:cNvSpPr>
            <a:spLocks noGrp="1"/>
          </p:cNvSpPr>
          <p:nvPr>
            <p:ph type="body" idx="1"/>
          </p:nvPr>
        </p:nvSpPr>
        <p:spPr>
          <a:xfrm>
            <a:off x="507000" y="2060576"/>
            <a:ext cx="8892000" cy="41052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64587584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p:hf hdr="0" ftr="0" dt="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1200"/>
        </a:spcAft>
        <a:buFont typeface="Arial" panose="020B0604020202020204" pitchFamily="34" charset="0"/>
        <a:buNone/>
        <a:defRPr sz="1600" b="1" kern="1200">
          <a:solidFill>
            <a:schemeClr val="accent1"/>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1828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3pPr>
      <a:lvl4pPr marL="3657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54864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73152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10972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12801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8">
          <p15:clr>
            <a:srgbClr val="A4A3A4"/>
          </p15:clr>
        </p15:guide>
        <p15:guide id="2" pos="295">
          <p15:clr>
            <a:srgbClr val="A4A3A4"/>
          </p15:clr>
        </p15:guide>
        <p15:guide id="3" orient="horz" pos="255">
          <p15:clr>
            <a:srgbClr val="A4A3A4"/>
          </p15:clr>
        </p15:guide>
        <p15:guide id="4" orient="horz" pos="1117">
          <p15:clr>
            <a:srgbClr val="A4A3A4"/>
          </p15:clr>
        </p15:guide>
        <p15:guide id="5" orient="horz" pos="2160">
          <p15:clr>
            <a:srgbClr val="A4A3A4"/>
          </p15:clr>
        </p15:guide>
        <p15:guide id="6" orient="horz" pos="3884">
          <p15:clr>
            <a:srgbClr val="A4A3A4"/>
          </p15:clr>
        </p15:guide>
        <p15:guide id="7" pos="5465">
          <p15:clr>
            <a:srgbClr val="A4A3A4"/>
          </p15:clr>
        </p15:guide>
        <p15:guide id="8" pos="1882">
          <p15:clr>
            <a:srgbClr val="A4A3A4"/>
          </p15:clr>
        </p15:guide>
        <p15:guide id="9" pos="2064">
          <p15:clr>
            <a:srgbClr val="A4A3A4"/>
          </p15:clr>
        </p15:guide>
        <p15:guide id="10" pos="3878">
          <p15:clr>
            <a:srgbClr val="A4A3A4"/>
          </p15:clr>
        </p15:guide>
        <p15:guide id="11" pos="3696">
          <p15:clr>
            <a:srgbClr val="A4A3A4"/>
          </p15:clr>
        </p15:guide>
        <p15:guide id="12" pos="2789">
          <p15:clr>
            <a:srgbClr val="A4A3A4"/>
          </p15:clr>
        </p15:guide>
        <p15:guide id="13" pos="2880">
          <p15:clr>
            <a:srgbClr val="A4A3A4"/>
          </p15:clr>
        </p15:guide>
        <p15:guide id="14" pos="297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787EE09-3D89-263E-08F5-13547C5209CB}"/>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BAED035-9903-74BC-40A8-C3ED6799E5AB}"/>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9686E18-FAF3-EBDD-CD59-E12562EC4642}"/>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44AB3D-1057-4AB6-87D1-2B0FE264E624}" type="datetimeFigureOut">
              <a:rPr kumimoji="1" lang="ja-JP" altLang="en-US" smtClean="0"/>
              <a:t>2025/6/24</a:t>
            </a:fld>
            <a:endParaRPr kumimoji="1" lang="ja-JP" altLang="en-US"/>
          </a:p>
        </p:txBody>
      </p:sp>
      <p:sp>
        <p:nvSpPr>
          <p:cNvPr id="5" name="フッター プレースホルダー 4">
            <a:extLst>
              <a:ext uri="{FF2B5EF4-FFF2-40B4-BE49-F238E27FC236}">
                <a16:creationId xmlns:a16="http://schemas.microsoft.com/office/drawing/2014/main" id="{93B70AA6-1029-6E2A-B8DD-69108B0BADBD}"/>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912B663-594D-AD94-FA51-FA6C03E215D5}"/>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59251366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6740BA51-ED12-9398-0D70-8BBF43161487}"/>
              </a:ext>
            </a:extLst>
          </p:cNvPr>
          <p:cNvSpPr>
            <a:spLocks noGrp="1"/>
          </p:cNvSpPr>
          <p:nvPr>
            <p:ph type="body" sz="quarter" idx="12"/>
          </p:nvPr>
        </p:nvSpPr>
        <p:spPr>
          <a:xfrm>
            <a:off x="194472" y="188642"/>
            <a:ext cx="9517057" cy="432046"/>
          </a:xfrm>
        </p:spPr>
        <p:txBody>
          <a:bodyPr/>
          <a:lstStyle/>
          <a:p>
            <a:r>
              <a:rPr lang="ja-JP" altLang="en-US" dirty="0"/>
              <a:t>事業概要</a:t>
            </a:r>
            <a:r>
              <a:rPr lang="en-US" altLang="ja-JP" dirty="0"/>
              <a:t>【</a:t>
            </a:r>
            <a:r>
              <a:rPr lang="ja-JP" altLang="en-US" dirty="0"/>
              <a:t>大阪の未来社会を支える若者・企業応援事業</a:t>
            </a:r>
            <a:r>
              <a:rPr lang="en-US" altLang="ja-JP" dirty="0"/>
              <a:t>】</a:t>
            </a:r>
            <a:endParaRPr lang="ja-JP" altLang="en-US" dirty="0"/>
          </a:p>
        </p:txBody>
      </p:sp>
      <p:graphicFrame>
        <p:nvGraphicFramePr>
          <p:cNvPr id="21" name="表 20">
            <a:extLst>
              <a:ext uri="{FF2B5EF4-FFF2-40B4-BE49-F238E27FC236}">
                <a16:creationId xmlns:a16="http://schemas.microsoft.com/office/drawing/2014/main" id="{4CCE59BB-84B6-47A8-824A-90A4B15CE3E5}"/>
              </a:ext>
            </a:extLst>
          </p:cNvPr>
          <p:cNvGraphicFramePr>
            <a:graphicFrameLocks noGrp="1"/>
          </p:cNvGraphicFramePr>
          <p:nvPr>
            <p:extLst>
              <p:ext uri="{D42A27DB-BD31-4B8C-83A1-F6EECF244321}">
                <p14:modId xmlns:p14="http://schemas.microsoft.com/office/powerpoint/2010/main" val="1802056666"/>
              </p:ext>
            </p:extLst>
          </p:nvPr>
        </p:nvGraphicFramePr>
        <p:xfrm>
          <a:off x="138486" y="717722"/>
          <a:ext cx="9602673" cy="6057981"/>
        </p:xfrm>
        <a:graphic>
          <a:graphicData uri="http://schemas.openxmlformats.org/drawingml/2006/table">
            <a:tbl>
              <a:tblPr firstRow="1" bandRow="1">
                <a:tableStyleId>{5940675A-B579-460E-94D1-54222C63F5DA}</a:tableStyleId>
              </a:tblPr>
              <a:tblGrid>
                <a:gridCol w="1068522">
                  <a:extLst>
                    <a:ext uri="{9D8B030D-6E8A-4147-A177-3AD203B41FA5}">
                      <a16:colId xmlns:a16="http://schemas.microsoft.com/office/drawing/2014/main" val="1574572698"/>
                    </a:ext>
                  </a:extLst>
                </a:gridCol>
                <a:gridCol w="789492">
                  <a:extLst>
                    <a:ext uri="{9D8B030D-6E8A-4147-A177-3AD203B41FA5}">
                      <a16:colId xmlns:a16="http://schemas.microsoft.com/office/drawing/2014/main" val="3623488850"/>
                    </a:ext>
                  </a:extLst>
                </a:gridCol>
                <a:gridCol w="524294">
                  <a:extLst>
                    <a:ext uri="{9D8B030D-6E8A-4147-A177-3AD203B41FA5}">
                      <a16:colId xmlns:a16="http://schemas.microsoft.com/office/drawing/2014/main" val="3428141043"/>
                    </a:ext>
                  </a:extLst>
                </a:gridCol>
                <a:gridCol w="706014">
                  <a:extLst>
                    <a:ext uri="{9D8B030D-6E8A-4147-A177-3AD203B41FA5}">
                      <a16:colId xmlns:a16="http://schemas.microsoft.com/office/drawing/2014/main" val="3266286335"/>
                    </a:ext>
                  </a:extLst>
                </a:gridCol>
                <a:gridCol w="523936">
                  <a:extLst>
                    <a:ext uri="{9D8B030D-6E8A-4147-A177-3AD203B41FA5}">
                      <a16:colId xmlns:a16="http://schemas.microsoft.com/office/drawing/2014/main" val="281497586"/>
                    </a:ext>
                  </a:extLst>
                </a:gridCol>
                <a:gridCol w="706014">
                  <a:extLst>
                    <a:ext uri="{9D8B030D-6E8A-4147-A177-3AD203B41FA5}">
                      <a16:colId xmlns:a16="http://schemas.microsoft.com/office/drawing/2014/main" val="780657523"/>
                    </a:ext>
                  </a:extLst>
                </a:gridCol>
                <a:gridCol w="523936">
                  <a:extLst>
                    <a:ext uri="{9D8B030D-6E8A-4147-A177-3AD203B41FA5}">
                      <a16:colId xmlns:a16="http://schemas.microsoft.com/office/drawing/2014/main" val="3861910546"/>
                    </a:ext>
                  </a:extLst>
                </a:gridCol>
                <a:gridCol w="505706">
                  <a:extLst>
                    <a:ext uri="{9D8B030D-6E8A-4147-A177-3AD203B41FA5}">
                      <a16:colId xmlns:a16="http://schemas.microsoft.com/office/drawing/2014/main" val="48331999"/>
                    </a:ext>
                  </a:extLst>
                </a:gridCol>
                <a:gridCol w="603504">
                  <a:extLst>
                    <a:ext uri="{9D8B030D-6E8A-4147-A177-3AD203B41FA5}">
                      <a16:colId xmlns:a16="http://schemas.microsoft.com/office/drawing/2014/main" val="876268225"/>
                    </a:ext>
                  </a:extLst>
                </a:gridCol>
                <a:gridCol w="702782">
                  <a:extLst>
                    <a:ext uri="{9D8B030D-6E8A-4147-A177-3AD203B41FA5}">
                      <a16:colId xmlns:a16="http://schemas.microsoft.com/office/drawing/2014/main" val="3168901572"/>
                    </a:ext>
                  </a:extLst>
                </a:gridCol>
                <a:gridCol w="2948473">
                  <a:extLst>
                    <a:ext uri="{9D8B030D-6E8A-4147-A177-3AD203B41FA5}">
                      <a16:colId xmlns:a16="http://schemas.microsoft.com/office/drawing/2014/main" val="3758133616"/>
                    </a:ext>
                  </a:extLst>
                </a:gridCol>
              </a:tblGrid>
              <a:tr h="3096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申請者</a:t>
                      </a:r>
                      <a:endParaRPr lang="ja-JP" altLang="en-US" sz="12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gridSpan="6">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Meiryo UI" panose="020B0604030504040204" pitchFamily="50" charset="-128"/>
                          <a:ea typeface="Meiryo UI" panose="020B0604030504040204" pitchFamily="50" charset="-128"/>
                        </a:rPr>
                        <a:t>大阪府</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回採択回</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令和７年度第１回募集</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令和７年度第１回募集</a:t>
                      </a:r>
                    </a:p>
                  </a:txBody>
                  <a:tcPr anchor="ctr"/>
                </a:tc>
                <a:extLst>
                  <a:ext uri="{0D108BD9-81ED-4DB2-BD59-A6C34878D82A}">
                    <a16:rowId xmlns:a16="http://schemas.microsoft.com/office/drawing/2014/main" val="2442898722"/>
                  </a:ext>
                </a:extLst>
              </a:tr>
              <a:tr h="4901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事業計画</a:t>
                      </a:r>
                      <a:endParaRPr kumimoji="1" lang="en-US" altLang="ja-JP" sz="12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期間</a:t>
                      </a:r>
                    </a:p>
                  </a:txBody>
                  <a:tcPr anchor="ctr">
                    <a:solidFill>
                      <a:schemeClr val="bg1">
                        <a:lumMod val="95000"/>
                      </a:schemeClr>
                    </a:solid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solidFill>
                            <a:schemeClr val="tx1"/>
                          </a:solidFill>
                          <a:latin typeface="Meiryo UI"/>
                          <a:ea typeface="Meiryo UI"/>
                        </a:rPr>
                        <a:t>R7-R9</a:t>
                      </a:r>
                      <a:r>
                        <a:rPr kumimoji="1" lang="ja-JP" altLang="en-US" sz="1400" dirty="0">
                          <a:solidFill>
                            <a:schemeClr val="tx1"/>
                          </a:solidFill>
                          <a:latin typeface="Meiryo UI"/>
                          <a:ea typeface="Meiryo UI"/>
                        </a:rPr>
                        <a:t>年度</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期間中の総事業費</a:t>
                      </a:r>
                      <a:endParaRPr kumimoji="1" lang="en-US" altLang="ja-JP" sz="11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latin typeface="Meiryo UI" panose="020B0604030504040204" pitchFamily="50" charset="-128"/>
                          <a:ea typeface="Meiryo UI" panose="020B0604030504040204" pitchFamily="50" charset="-128"/>
                        </a:rPr>
                        <a:t>（カッコ内は</a:t>
                      </a:r>
                      <a:r>
                        <a:rPr kumimoji="1" lang="en-US" altLang="ja-JP" sz="900" dirty="0">
                          <a:latin typeface="Meiryo UI" panose="020B0604030504040204" pitchFamily="50" charset="-128"/>
                          <a:ea typeface="Meiryo UI" panose="020B0604030504040204" pitchFamily="50" charset="-128"/>
                        </a:rPr>
                        <a:t>R7</a:t>
                      </a:r>
                      <a:r>
                        <a:rPr kumimoji="1" lang="ja-JP" altLang="en-US" sz="900" dirty="0">
                          <a:latin typeface="Meiryo UI" panose="020B0604030504040204" pitchFamily="50" charset="-128"/>
                          <a:ea typeface="Meiryo UI" panose="020B0604030504040204" pitchFamily="50" charset="-128"/>
                        </a:rPr>
                        <a:t>年度事業費）</a:t>
                      </a:r>
                      <a:endParaRPr kumimoji="1" lang="ja-JP" altLang="en-US" sz="10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latin typeface="Meiryo UI" panose="020B0604030504040204" pitchFamily="50" charset="-128"/>
                          <a:ea typeface="Meiryo UI" panose="020B0604030504040204" pitchFamily="50" charset="-128"/>
                        </a:rPr>
                        <a:t>180,000</a:t>
                      </a:r>
                      <a:r>
                        <a:rPr kumimoji="1" lang="ja-JP" altLang="en-US" sz="1400">
                          <a:latin typeface="Meiryo UI" panose="020B0604030504040204" pitchFamily="50" charset="-128"/>
                          <a:ea typeface="Meiryo UI" panose="020B0604030504040204" pitchFamily="50" charset="-128"/>
                        </a:rPr>
                        <a:t>千円（</a:t>
                      </a:r>
                      <a:r>
                        <a:rPr kumimoji="1" lang="en-US" altLang="ja-JP" sz="1400">
                          <a:latin typeface="Meiryo UI" panose="020B0604030504040204" pitchFamily="50" charset="-128"/>
                          <a:ea typeface="Meiryo UI" panose="020B0604030504040204" pitchFamily="50" charset="-128"/>
                        </a:rPr>
                        <a:t>66,000</a:t>
                      </a:r>
                      <a:r>
                        <a:rPr kumimoji="1" lang="ja-JP" altLang="en-US" sz="1400">
                          <a:latin typeface="Meiryo UI" panose="020B0604030504040204" pitchFamily="50" charset="-128"/>
                          <a:ea typeface="Meiryo UI" panose="020B0604030504040204" pitchFamily="50" charset="-128"/>
                        </a:rPr>
                        <a:t>千円）</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solidFill>
                            <a:schemeClr val="tx1"/>
                          </a:solidFill>
                          <a:latin typeface="Meiryo UI"/>
                          <a:ea typeface="Meiryo UI"/>
                        </a:rPr>
                        <a:t>89,388</a:t>
                      </a:r>
                      <a:r>
                        <a:rPr kumimoji="1" lang="ja-JP" altLang="en-US" sz="1400" dirty="0">
                          <a:solidFill>
                            <a:schemeClr val="tx1"/>
                          </a:solidFill>
                          <a:latin typeface="Meiryo UI"/>
                          <a:ea typeface="Meiryo UI"/>
                        </a:rPr>
                        <a:t>千円（</a:t>
                      </a:r>
                      <a:r>
                        <a:rPr kumimoji="1" lang="en-US" altLang="ja-JP" sz="1400" dirty="0">
                          <a:solidFill>
                            <a:schemeClr val="tx1"/>
                          </a:solidFill>
                          <a:latin typeface="Meiryo UI"/>
                          <a:ea typeface="Meiryo UI"/>
                        </a:rPr>
                        <a:t>29,796</a:t>
                      </a:r>
                      <a:r>
                        <a:rPr kumimoji="1" lang="ja-JP" altLang="en-US" sz="1400" dirty="0">
                          <a:solidFill>
                            <a:schemeClr val="tx1"/>
                          </a:solidFill>
                          <a:latin typeface="Meiryo UI"/>
                          <a:ea typeface="Meiryo UI"/>
                        </a:rPr>
                        <a:t>千円）</a:t>
                      </a:r>
                    </a:p>
                  </a:txBody>
                  <a:tcPr anchor="ctr"/>
                </a:tc>
                <a:extLst>
                  <a:ext uri="{0D108BD9-81ED-4DB2-BD59-A6C34878D82A}">
                    <a16:rowId xmlns:a16="http://schemas.microsoft.com/office/drawing/2014/main" val="4201150482"/>
                  </a:ext>
                </a:extLst>
              </a:tr>
              <a:tr h="41682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経費の類型</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ソフト</a:t>
                      </a:r>
                      <a:endParaRPr kumimoji="1" lang="en-US" altLang="ja-JP" sz="105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事業</a:t>
                      </a:r>
                    </a:p>
                  </a:txBody>
                  <a:tcPr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拠点整備事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a:latin typeface="Meiryo UI" panose="020B0604030504040204" pitchFamily="50" charset="-128"/>
                          <a:ea typeface="Meiryo UI" panose="020B0604030504040204" pitchFamily="50" charset="-128"/>
                        </a:rPr>
                        <a:t>インフラ</a:t>
                      </a:r>
                      <a:endParaRPr kumimoji="1" lang="en-US" altLang="ja-JP" sz="1050" spc="-80" baseline="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a:latin typeface="Meiryo UI" panose="020B0604030504040204" pitchFamily="50" charset="-128"/>
                          <a:ea typeface="Meiryo UI" panose="020B0604030504040204" pitchFamily="50" charset="-128"/>
                        </a:rPr>
                        <a:t>整備事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事業分野</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観光分野</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働き方改革分野</a:t>
                      </a:r>
                    </a:p>
                  </a:txBody>
                  <a:tcPr anchor="ctr"/>
                </a:tc>
                <a:extLst>
                  <a:ext uri="{0D108BD9-81ED-4DB2-BD59-A6C34878D82A}">
                    <a16:rowId xmlns:a16="http://schemas.microsoft.com/office/drawing/2014/main" val="4187406978"/>
                  </a:ext>
                </a:extLst>
              </a:tr>
              <a:tr h="1173274">
                <a:tc>
                  <a:txBody>
                    <a:bodyPr/>
                    <a:lstStyle/>
                    <a:p>
                      <a:pPr algn="ctr"/>
                      <a:r>
                        <a:rPr kumimoji="1" lang="ja-JP" altLang="en-US" sz="1200" dirty="0">
                          <a:latin typeface="Meiryo UI" panose="020B0604030504040204" pitchFamily="50" charset="-128"/>
                          <a:ea typeface="Meiryo UI" panose="020B0604030504040204" pitchFamily="50" charset="-128"/>
                        </a:rPr>
                        <a:t>目的</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効果）</a:t>
                      </a:r>
                    </a:p>
                  </a:txBody>
                  <a:tcPr anchor="ctr">
                    <a:solidFill>
                      <a:schemeClr val="bg1">
                        <a:lumMod val="95000"/>
                      </a:schemeClr>
                    </a:solidFill>
                  </a:tcPr>
                </a:tc>
                <a:tc gridSpan="10">
                  <a:txBody>
                    <a:bodyPr/>
                    <a:lstStyle/>
                    <a:p>
                      <a:pPr marL="0" indent="0">
                        <a:buFont typeface="Arial" panose="020B0604020202020204" pitchFamily="34" charset="0"/>
                        <a:buNone/>
                      </a:pPr>
                      <a:r>
                        <a:rPr lang="ja-JP" altLang="en-US" sz="1000" b="0" i="0" u="none" strike="noStrike" kern="1200" baseline="0" dirty="0">
                          <a:solidFill>
                            <a:schemeClr val="tx1"/>
                          </a:solidFill>
                          <a:latin typeface="Meiryo UI" panose="020B0604030504040204" pitchFamily="50" charset="-128"/>
                          <a:ea typeface="Meiryo UI" panose="020B0604030504040204" pitchFamily="50" charset="-128"/>
                          <a:cs typeface="+mn-cs"/>
                        </a:rPr>
                        <a:t>中小企業における慢性的な人手不足を緩和していけるよう採用力の向上を促すとともに、若者に対しても企業で活躍できるスキルを身に着け、府内中小企業への就職志向の変容を促していくことで、これからの大阪を担える若者を増やしていき、活気あふれる「大阪」の実現をめざす。</a:t>
                      </a:r>
                      <a:endParaRPr lang="en-US" altLang="ja-JP" sz="10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r>
                        <a:rPr lang="ja-JP" altLang="en-US" sz="1000" b="0" i="0" u="none" strike="noStrike" kern="1200" baseline="0" dirty="0">
                          <a:solidFill>
                            <a:schemeClr val="tx1"/>
                          </a:solidFill>
                          <a:latin typeface="Meiryo UI" panose="020B0604030504040204" pitchFamily="50" charset="-128"/>
                          <a:ea typeface="Meiryo UI" panose="020B0604030504040204" pitchFamily="50" charset="-128"/>
                          <a:cs typeface="+mn-cs"/>
                        </a:rPr>
                        <a:t>具体的には次の①</a:t>
                      </a:r>
                      <a:r>
                        <a:rPr lang="en-US" altLang="ja-JP" sz="1000" b="0" i="0" u="none" strike="noStrike" kern="1200" baseline="0" dirty="0">
                          <a:solidFill>
                            <a:schemeClr val="tx1"/>
                          </a:solidFill>
                          <a:latin typeface="Meiryo UI" panose="020B0604030504040204" pitchFamily="50" charset="-128"/>
                          <a:ea typeface="Meiryo UI" panose="020B0604030504040204" pitchFamily="50" charset="-128"/>
                          <a:cs typeface="+mn-cs"/>
                        </a:rPr>
                        <a:t>~</a:t>
                      </a:r>
                      <a:r>
                        <a:rPr lang="ja-JP" altLang="en-US" sz="1000" b="0" i="0" u="none" strike="noStrike" kern="1200" baseline="0" dirty="0">
                          <a:solidFill>
                            <a:schemeClr val="tx1"/>
                          </a:solidFill>
                          <a:latin typeface="Meiryo UI" panose="020B0604030504040204" pitchFamily="50" charset="-128"/>
                          <a:ea typeface="Meiryo UI" panose="020B0604030504040204" pitchFamily="50" charset="-128"/>
                          <a:cs typeface="+mn-cs"/>
                        </a:rPr>
                        <a:t>③により学生・企業・大学に対して支援を実施し、府内中小企業の人手不足解消を図るとともに、本事業の終了後にも支援の枠組みが継続されるよう、府内大学による支援の自立化をめざしていく。</a:t>
                      </a:r>
                    </a:p>
                    <a:p>
                      <a:pPr marL="0" indent="0">
                        <a:buFont typeface="Arial" panose="020B0604020202020204" pitchFamily="34" charset="0"/>
                        <a:buNone/>
                      </a:pPr>
                      <a:r>
                        <a:rPr lang="ja-JP" altLang="en-US" sz="1000" b="0" i="0" u="none" strike="noStrike" kern="1200" baseline="0" dirty="0">
                          <a:solidFill>
                            <a:schemeClr val="tx1"/>
                          </a:solidFill>
                          <a:latin typeface="Meiryo UI" panose="020B0604030504040204" pitchFamily="50" charset="-128"/>
                          <a:ea typeface="Meiryo UI" panose="020B0604030504040204" pitchFamily="50" charset="-128"/>
                          <a:cs typeface="+mn-cs"/>
                        </a:rPr>
                        <a:t>　①学生に対するデジタルスキル等向上支援および府内企業とのマッチング支援</a:t>
                      </a:r>
                    </a:p>
                    <a:p>
                      <a:pPr marL="0" indent="0">
                        <a:buFont typeface="Arial" panose="020B0604020202020204" pitchFamily="34" charset="0"/>
                        <a:buNone/>
                      </a:pPr>
                      <a:r>
                        <a:rPr lang="ja-JP" altLang="en-US" sz="1000" b="0" i="0" u="none" strike="noStrike" kern="1200" baseline="0" dirty="0">
                          <a:solidFill>
                            <a:schemeClr val="tx1"/>
                          </a:solidFill>
                          <a:latin typeface="Meiryo UI" panose="020B0604030504040204" pitchFamily="50" charset="-128"/>
                          <a:ea typeface="Meiryo UI" panose="020B0604030504040204" pitchFamily="50" charset="-128"/>
                          <a:cs typeface="+mn-cs"/>
                        </a:rPr>
                        <a:t>　②府内企業に対する若者の採用支援およびマッチング支援</a:t>
                      </a:r>
                    </a:p>
                    <a:p>
                      <a:pPr marL="0" indent="0">
                        <a:buFont typeface="Arial" panose="020B0604020202020204" pitchFamily="34" charset="0"/>
                        <a:buNone/>
                      </a:pPr>
                      <a:r>
                        <a:rPr lang="ja-JP" altLang="en-US" sz="1000" b="0" i="0" u="none" strike="noStrike" kern="1200" baseline="0" dirty="0">
                          <a:solidFill>
                            <a:schemeClr val="tx1"/>
                          </a:solidFill>
                          <a:latin typeface="Meiryo UI" panose="020B0604030504040204" pitchFamily="50" charset="-128"/>
                          <a:ea typeface="Meiryo UI" panose="020B0604030504040204" pitchFamily="50" charset="-128"/>
                          <a:cs typeface="+mn-cs"/>
                        </a:rPr>
                        <a:t>　③大学に対する府内企業とのマッチング支援および未就職学生を減らすためのキャリア支援手法の確立支援</a:t>
                      </a:r>
                      <a:endPar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pPr marL="95250" indent="-95250">
                        <a:buFont typeface="Arial" panose="020B0604020202020204" pitchFamily="34" charset="0"/>
                        <a:buChar char="•"/>
                      </a:pPr>
                      <a:endParaRPr kumimoji="1" lang="en-US" altLang="ja-JP" sz="1400" b="0" i="0" u="none" strike="noStrike" kern="1200" baseline="0">
                        <a:solidFill>
                          <a:srgbClr val="FF0000"/>
                        </a:solidFill>
                        <a:latin typeface="Meiryo UI" panose="020B0604030504040204" pitchFamily="50" charset="-128"/>
                        <a:ea typeface="Meiryo UI" panose="020B0604030504040204" pitchFamily="50" charset="-128"/>
                        <a:cs typeface="+mn-cs"/>
                      </a:endParaRPr>
                    </a:p>
                  </a:txBody>
                  <a:tcPr anchor="ctr"/>
                </a:tc>
                <a:extLst>
                  <a:ext uri="{0D108BD9-81ED-4DB2-BD59-A6C34878D82A}">
                    <a16:rowId xmlns:a16="http://schemas.microsoft.com/office/drawing/2014/main" val="3133888693"/>
                  </a:ext>
                </a:extLst>
              </a:tr>
              <a:tr h="245715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概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経費</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経費内訳は</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事業費</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solidFill>
                      <a:schemeClr val="bg1">
                        <a:lumMod val="95000"/>
                      </a:schemeClr>
                    </a:solidFill>
                  </a:tcPr>
                </a:tc>
                <a:tc gridSpan="7">
                  <a:txBody>
                    <a:bodyPr/>
                    <a:lstStyle/>
                    <a:p>
                      <a:r>
                        <a:rPr lang="en-US" altLang="ja-JP" sz="900" b="0" i="0" u="none" strike="noStrike" kern="1200" baseline="0" dirty="0">
                          <a:solidFill>
                            <a:schemeClr val="tx1"/>
                          </a:solidFill>
                          <a:latin typeface="Meiryo UI"/>
                          <a:ea typeface="Meiryo UI"/>
                          <a:cs typeface="+mn-cs"/>
                        </a:rPr>
                        <a:t>【</a:t>
                      </a:r>
                      <a:r>
                        <a:rPr lang="ja-JP" altLang="en-US" sz="900" b="0" i="0" u="none" strike="noStrike" kern="1200" baseline="0" dirty="0">
                          <a:solidFill>
                            <a:schemeClr val="tx1"/>
                          </a:solidFill>
                          <a:latin typeface="Meiryo UI"/>
                          <a:ea typeface="Meiryo UI"/>
                          <a:cs typeface="+mn-cs"/>
                        </a:rPr>
                        <a:t>ソフト事業経費</a:t>
                      </a:r>
                      <a:r>
                        <a:rPr lang="en-US" altLang="ja-JP" sz="900" b="0" i="0" u="none" strike="noStrike" kern="1200" baseline="0" dirty="0">
                          <a:solidFill>
                            <a:schemeClr val="tx1"/>
                          </a:solidFill>
                          <a:latin typeface="Meiryo UI"/>
                          <a:ea typeface="Meiryo UI"/>
                          <a:cs typeface="+mn-cs"/>
                        </a:rPr>
                        <a:t>】</a:t>
                      </a:r>
                      <a:r>
                        <a:rPr lang="ja-JP" altLang="en-US" sz="900" b="0" i="0" u="none" strike="noStrike" kern="1200" baseline="0" dirty="0">
                          <a:solidFill>
                            <a:schemeClr val="tx1"/>
                          </a:solidFill>
                          <a:latin typeface="Meiryo UI"/>
                          <a:ea typeface="Meiryo UI"/>
                          <a:cs typeface="+mn-cs"/>
                        </a:rPr>
                        <a:t>　</a:t>
                      </a:r>
                      <a:r>
                        <a:rPr lang="en-US" altLang="ja-JP" sz="900" b="0" i="0" u="none" strike="noStrike" kern="1200" baseline="0" dirty="0">
                          <a:solidFill>
                            <a:schemeClr val="tx1"/>
                          </a:solidFill>
                          <a:latin typeface="Meiryo UI"/>
                          <a:ea typeface="Meiryo UI"/>
                          <a:cs typeface="+mn-cs"/>
                        </a:rPr>
                        <a:t>※</a:t>
                      </a:r>
                      <a:r>
                        <a:rPr lang="ja-JP" altLang="en-US" sz="900" b="0" i="0" u="none" strike="noStrike" kern="1200" baseline="0" dirty="0">
                          <a:solidFill>
                            <a:schemeClr val="tx1"/>
                          </a:solidFill>
                          <a:latin typeface="Meiryo UI"/>
                          <a:ea typeface="Meiryo UI"/>
                          <a:cs typeface="+mn-cs"/>
                        </a:rPr>
                        <a:t>各要素事業はいずれも１つの委託事業内で実施するもの</a:t>
                      </a:r>
                    </a:p>
                    <a:p>
                      <a:r>
                        <a:rPr lang="ja-JP" altLang="en-US" sz="900" b="0" i="0" u="none" strike="noStrike" kern="1200" baseline="0" dirty="0">
                          <a:solidFill>
                            <a:schemeClr val="tx1"/>
                          </a:solidFill>
                          <a:latin typeface="Meiryo UI"/>
                          <a:ea typeface="Meiryo UI"/>
                          <a:cs typeface="+mn-cs"/>
                        </a:rPr>
                        <a:t>○学生に対するデジタルスキル等向上支援および府内企業とのマッチング支援</a:t>
                      </a:r>
                    </a:p>
                    <a:p>
                      <a:r>
                        <a:rPr lang="ja-JP" altLang="en-US" sz="900" b="0" i="0" u="none" strike="noStrike" kern="1200" baseline="0" dirty="0">
                          <a:solidFill>
                            <a:schemeClr val="tx1"/>
                          </a:solidFill>
                          <a:latin typeface="Meiryo UI"/>
                          <a:ea typeface="Meiryo UI"/>
                          <a:cs typeface="+mn-cs"/>
                        </a:rPr>
                        <a:t>　・事業運営費（人件費、通信費、消耗品費など）　：</a:t>
                      </a:r>
                      <a:r>
                        <a:rPr lang="en-US" altLang="ja-JP" sz="900" b="0" i="0" u="none" strike="noStrike" kern="1200" baseline="0" dirty="0">
                          <a:solidFill>
                            <a:schemeClr val="tx1"/>
                          </a:solidFill>
                          <a:latin typeface="Meiryo UI"/>
                          <a:ea typeface="Meiryo UI"/>
                          <a:cs typeface="+mn-cs"/>
                        </a:rPr>
                        <a:t>8,200</a:t>
                      </a:r>
                      <a:r>
                        <a:rPr lang="ja-JP" altLang="en-US" sz="900" b="0" i="0" u="none" strike="noStrike" kern="1200" baseline="0" dirty="0">
                          <a:solidFill>
                            <a:schemeClr val="tx1"/>
                          </a:solidFill>
                          <a:latin typeface="Meiryo UI"/>
                          <a:ea typeface="Meiryo UI"/>
                          <a:cs typeface="+mn-cs"/>
                        </a:rPr>
                        <a:t>千円</a:t>
                      </a:r>
                    </a:p>
                    <a:p>
                      <a:r>
                        <a:rPr lang="ja-JP" altLang="en-US" sz="900" b="0" i="0" u="none" strike="noStrike" kern="1200" baseline="0" dirty="0">
                          <a:solidFill>
                            <a:schemeClr val="tx1"/>
                          </a:solidFill>
                          <a:latin typeface="Meiryo UI"/>
                          <a:ea typeface="Meiryo UI"/>
                          <a:cs typeface="+mn-cs"/>
                        </a:rPr>
                        <a:t>　・学生向けセミナー・交流会等開催費（講師・広報・会場など）　：</a:t>
                      </a:r>
                      <a:r>
                        <a:rPr lang="en-US" altLang="ja-JP" sz="900" b="0" i="0" u="none" strike="noStrike" kern="1200" baseline="0" dirty="0">
                          <a:solidFill>
                            <a:schemeClr val="tx1"/>
                          </a:solidFill>
                          <a:latin typeface="Meiryo UI"/>
                          <a:ea typeface="Meiryo UI"/>
                          <a:cs typeface="+mn-cs"/>
                        </a:rPr>
                        <a:t>2,650</a:t>
                      </a:r>
                      <a:r>
                        <a:rPr lang="ja-JP" altLang="en-US" sz="900" b="0" i="0" u="none" strike="noStrike" kern="1200" baseline="0" dirty="0">
                          <a:solidFill>
                            <a:schemeClr val="tx1"/>
                          </a:solidFill>
                          <a:latin typeface="Meiryo UI"/>
                          <a:ea typeface="Meiryo UI"/>
                          <a:cs typeface="+mn-cs"/>
                        </a:rPr>
                        <a:t>千円</a:t>
                      </a:r>
                    </a:p>
                    <a:p>
                      <a:r>
                        <a:rPr lang="ja-JP" altLang="en-US" sz="900" b="0" i="0" u="none" strike="noStrike" kern="1200" baseline="0" dirty="0">
                          <a:solidFill>
                            <a:schemeClr val="tx1"/>
                          </a:solidFill>
                          <a:latin typeface="Meiryo UI"/>
                          <a:ea typeface="Meiryo UI"/>
                          <a:cs typeface="+mn-cs"/>
                        </a:rPr>
                        <a:t>　・</a:t>
                      </a:r>
                      <a:r>
                        <a:rPr lang="en-US" altLang="ja-JP" sz="900" b="0" i="0" u="none" strike="noStrike" kern="1200" baseline="0" dirty="0">
                          <a:solidFill>
                            <a:schemeClr val="tx1"/>
                          </a:solidFill>
                          <a:latin typeface="Meiryo UI"/>
                          <a:ea typeface="Meiryo UI"/>
                          <a:cs typeface="+mn-cs"/>
                        </a:rPr>
                        <a:t>HP</a:t>
                      </a:r>
                      <a:r>
                        <a:rPr lang="ja-JP" altLang="en-US" sz="900" b="0" i="0" u="none" strike="noStrike" kern="1200" baseline="0" dirty="0">
                          <a:solidFill>
                            <a:schemeClr val="tx1"/>
                          </a:solidFill>
                          <a:latin typeface="Meiryo UI"/>
                          <a:ea typeface="Meiryo UI"/>
                          <a:cs typeface="+mn-cs"/>
                        </a:rPr>
                        <a:t>・</a:t>
                      </a:r>
                      <a:r>
                        <a:rPr lang="en-US" altLang="ja-JP" sz="900" b="0" i="0" u="none" strike="noStrike" kern="1200" baseline="0" dirty="0">
                          <a:solidFill>
                            <a:schemeClr val="tx1"/>
                          </a:solidFill>
                          <a:latin typeface="Meiryo UI"/>
                          <a:ea typeface="Meiryo UI"/>
                          <a:cs typeface="+mn-cs"/>
                        </a:rPr>
                        <a:t>SNS</a:t>
                      </a:r>
                      <a:r>
                        <a:rPr lang="ja-JP" altLang="en-US" sz="900" b="0" i="0" u="none" strike="noStrike" kern="1200" baseline="0" dirty="0">
                          <a:solidFill>
                            <a:schemeClr val="tx1"/>
                          </a:solidFill>
                          <a:latin typeface="Meiryo UI"/>
                          <a:ea typeface="Meiryo UI"/>
                          <a:cs typeface="+mn-cs"/>
                        </a:rPr>
                        <a:t>作成、更新費（学生向けセミナー等の情報掲載）　：</a:t>
                      </a:r>
                      <a:r>
                        <a:rPr lang="en-US" altLang="ja-JP" sz="900" b="0" i="0" u="none" strike="noStrike" kern="1200" baseline="0" dirty="0">
                          <a:solidFill>
                            <a:schemeClr val="tx1"/>
                          </a:solidFill>
                          <a:latin typeface="Meiryo UI"/>
                          <a:ea typeface="Meiryo UI"/>
                          <a:cs typeface="+mn-cs"/>
                        </a:rPr>
                        <a:t>1,000</a:t>
                      </a:r>
                      <a:r>
                        <a:rPr lang="ja-JP" altLang="en-US" sz="900" b="0" i="0" u="none" strike="noStrike" kern="1200" baseline="0" dirty="0">
                          <a:solidFill>
                            <a:schemeClr val="tx1"/>
                          </a:solidFill>
                          <a:latin typeface="Meiryo UI"/>
                          <a:ea typeface="Meiryo UI"/>
                          <a:cs typeface="+mn-cs"/>
                        </a:rPr>
                        <a:t>千円</a:t>
                      </a:r>
                    </a:p>
                    <a:p>
                      <a:endParaRPr lang="ja-JP" altLang="en-US" sz="900" b="0" i="0" u="none" strike="noStrike" kern="1200" baseline="0" dirty="0">
                        <a:solidFill>
                          <a:schemeClr val="tx1"/>
                        </a:solidFill>
                        <a:latin typeface="Meiryo UI"/>
                        <a:ea typeface="Meiryo UI"/>
                        <a:cs typeface="+mn-cs"/>
                      </a:endParaRPr>
                    </a:p>
                    <a:p>
                      <a:r>
                        <a:rPr lang="ja-JP" altLang="en-US" sz="900" b="0" i="0" u="none" strike="noStrike" kern="1200" baseline="0" dirty="0">
                          <a:solidFill>
                            <a:schemeClr val="tx1"/>
                          </a:solidFill>
                          <a:latin typeface="Meiryo UI"/>
                          <a:ea typeface="Meiryo UI"/>
                          <a:cs typeface="+mn-cs"/>
                        </a:rPr>
                        <a:t>○府内企業に対する若者の採用支援およびマッチング支援</a:t>
                      </a:r>
                    </a:p>
                    <a:p>
                      <a:r>
                        <a:rPr lang="ja-JP" altLang="en-US" sz="900" b="0" i="0" u="none" strike="noStrike" kern="1200" baseline="0" dirty="0">
                          <a:solidFill>
                            <a:schemeClr val="tx1"/>
                          </a:solidFill>
                          <a:latin typeface="Meiryo UI"/>
                          <a:ea typeface="Meiryo UI"/>
                          <a:cs typeface="+mn-cs"/>
                        </a:rPr>
                        <a:t>　・事業運営費（人件費、通信費、消耗品費など）　：</a:t>
                      </a:r>
                      <a:r>
                        <a:rPr lang="en-US" altLang="ja-JP" sz="900" b="0" i="0" u="none" strike="noStrike" kern="1200" baseline="0" dirty="0">
                          <a:solidFill>
                            <a:schemeClr val="tx1"/>
                          </a:solidFill>
                          <a:latin typeface="Meiryo UI"/>
                          <a:ea typeface="Meiryo UI"/>
                          <a:cs typeface="+mn-cs"/>
                        </a:rPr>
                        <a:t>7,500</a:t>
                      </a:r>
                      <a:r>
                        <a:rPr lang="ja-JP" altLang="en-US" sz="900" b="0" i="0" u="none" strike="noStrike" kern="1200" baseline="0" dirty="0">
                          <a:solidFill>
                            <a:schemeClr val="tx1"/>
                          </a:solidFill>
                          <a:latin typeface="Meiryo UI"/>
                          <a:ea typeface="Meiryo UI"/>
                          <a:cs typeface="+mn-cs"/>
                        </a:rPr>
                        <a:t>千円</a:t>
                      </a:r>
                    </a:p>
                    <a:p>
                      <a:r>
                        <a:rPr lang="ja-JP" altLang="en-US" sz="900" b="0" i="0" u="none" strike="noStrike" kern="1200" baseline="0" dirty="0">
                          <a:solidFill>
                            <a:schemeClr val="tx1"/>
                          </a:solidFill>
                          <a:latin typeface="Meiryo UI"/>
                          <a:ea typeface="Meiryo UI"/>
                          <a:cs typeface="+mn-cs"/>
                        </a:rPr>
                        <a:t>　・企業向けセミナー開催費（講師・広報・会場など）　：</a:t>
                      </a:r>
                      <a:r>
                        <a:rPr lang="en-US" altLang="ja-JP" sz="900" b="0" i="0" u="none" strike="noStrike" kern="1200" baseline="0" dirty="0">
                          <a:solidFill>
                            <a:schemeClr val="tx1"/>
                          </a:solidFill>
                          <a:latin typeface="Meiryo UI"/>
                          <a:ea typeface="Meiryo UI"/>
                          <a:cs typeface="+mn-cs"/>
                        </a:rPr>
                        <a:t>2,200</a:t>
                      </a:r>
                      <a:r>
                        <a:rPr lang="ja-JP" altLang="en-US" sz="900" b="0" i="0" u="none" strike="noStrike" kern="1200" baseline="0" dirty="0">
                          <a:solidFill>
                            <a:schemeClr val="tx1"/>
                          </a:solidFill>
                          <a:latin typeface="Meiryo UI"/>
                          <a:ea typeface="Meiryo UI"/>
                          <a:cs typeface="+mn-cs"/>
                        </a:rPr>
                        <a:t>千円</a:t>
                      </a:r>
                    </a:p>
                    <a:p>
                      <a:r>
                        <a:rPr lang="ja-JP" altLang="en-US" sz="900" b="0" i="0" u="none" strike="noStrike" kern="1200" baseline="0" dirty="0">
                          <a:solidFill>
                            <a:schemeClr val="tx1"/>
                          </a:solidFill>
                          <a:latin typeface="Meiryo UI"/>
                          <a:ea typeface="Meiryo UI"/>
                          <a:cs typeface="+mn-cs"/>
                        </a:rPr>
                        <a:t>　・実践型就職活動支援プログラムの実施（広報、会場費）　</a:t>
                      </a:r>
                      <a:r>
                        <a:rPr lang="en-US" altLang="ja-JP" sz="900" b="0" i="0" u="none" strike="noStrike" kern="1200" baseline="0" dirty="0">
                          <a:solidFill>
                            <a:schemeClr val="tx1"/>
                          </a:solidFill>
                          <a:latin typeface="Meiryo UI"/>
                          <a:ea typeface="Meiryo UI"/>
                          <a:cs typeface="+mn-cs"/>
                        </a:rPr>
                        <a:t>1,800</a:t>
                      </a:r>
                      <a:r>
                        <a:rPr lang="ja-JP" altLang="en-US" sz="900" b="0" i="0" u="none" strike="noStrike" kern="1200" baseline="0" dirty="0">
                          <a:solidFill>
                            <a:schemeClr val="tx1"/>
                          </a:solidFill>
                          <a:latin typeface="Meiryo UI"/>
                          <a:ea typeface="Meiryo UI"/>
                          <a:cs typeface="+mn-cs"/>
                        </a:rPr>
                        <a:t>千円</a:t>
                      </a:r>
                    </a:p>
                    <a:p>
                      <a:r>
                        <a:rPr lang="ja-JP" altLang="en-US" sz="900" b="0" i="0" u="none" strike="noStrike" kern="1200" baseline="0" dirty="0">
                          <a:solidFill>
                            <a:schemeClr val="tx1"/>
                          </a:solidFill>
                          <a:latin typeface="Meiryo UI"/>
                          <a:ea typeface="Meiryo UI"/>
                          <a:cs typeface="+mn-cs"/>
                        </a:rPr>
                        <a:t>　・</a:t>
                      </a:r>
                      <a:r>
                        <a:rPr lang="en-US" altLang="ja-JP" sz="900" b="0" i="0" u="none" strike="noStrike" kern="1200" baseline="0" dirty="0">
                          <a:solidFill>
                            <a:schemeClr val="tx1"/>
                          </a:solidFill>
                          <a:latin typeface="Meiryo UI"/>
                          <a:ea typeface="Meiryo UI"/>
                          <a:cs typeface="+mn-cs"/>
                        </a:rPr>
                        <a:t>HP</a:t>
                      </a:r>
                      <a:r>
                        <a:rPr lang="ja-JP" altLang="en-US" sz="900" b="0" i="0" u="none" strike="noStrike" kern="1200" baseline="0" dirty="0">
                          <a:solidFill>
                            <a:schemeClr val="tx1"/>
                          </a:solidFill>
                          <a:latin typeface="Meiryo UI"/>
                          <a:ea typeface="Meiryo UI"/>
                          <a:cs typeface="+mn-cs"/>
                        </a:rPr>
                        <a:t>・</a:t>
                      </a:r>
                      <a:r>
                        <a:rPr lang="en-US" altLang="ja-JP" sz="900" b="0" i="0" u="none" strike="noStrike" kern="1200" baseline="0" dirty="0">
                          <a:solidFill>
                            <a:schemeClr val="tx1"/>
                          </a:solidFill>
                          <a:latin typeface="Meiryo UI"/>
                          <a:ea typeface="Meiryo UI"/>
                          <a:cs typeface="+mn-cs"/>
                        </a:rPr>
                        <a:t>SNS</a:t>
                      </a:r>
                      <a:r>
                        <a:rPr lang="ja-JP" altLang="en-US" sz="900" b="0" i="0" u="none" strike="noStrike" kern="1200" baseline="0" dirty="0">
                          <a:solidFill>
                            <a:schemeClr val="tx1"/>
                          </a:solidFill>
                          <a:latin typeface="Meiryo UI"/>
                          <a:ea typeface="Meiryo UI"/>
                          <a:cs typeface="+mn-cs"/>
                        </a:rPr>
                        <a:t>作成、更新費　（企業向けセミナー等の情報掲載、府内企業の魅力発信</a:t>
                      </a:r>
                      <a:endParaRPr lang="en-US" altLang="ja-JP" sz="900" b="0" i="0" u="none" strike="noStrike" kern="1200" baseline="0" dirty="0">
                        <a:solidFill>
                          <a:schemeClr val="tx1"/>
                        </a:solidFill>
                        <a:latin typeface="Meiryo UI"/>
                        <a:ea typeface="Meiryo UI"/>
                        <a:cs typeface="+mn-cs"/>
                      </a:endParaRPr>
                    </a:p>
                    <a:p>
                      <a:r>
                        <a:rPr lang="ja-JP" altLang="en-US" sz="900" b="0" i="0" u="none" strike="noStrike" kern="1200" baseline="0" dirty="0">
                          <a:solidFill>
                            <a:schemeClr val="tx1"/>
                          </a:solidFill>
                          <a:latin typeface="Meiryo UI"/>
                          <a:ea typeface="Meiryo UI"/>
                          <a:cs typeface="+mn-cs"/>
                        </a:rPr>
                        <a:t>　 ページ掲載など）　：</a:t>
                      </a:r>
                      <a:r>
                        <a:rPr lang="en-US" altLang="ja-JP" sz="900" b="0" i="0" u="none" strike="noStrike" kern="1200" baseline="0" dirty="0">
                          <a:solidFill>
                            <a:schemeClr val="tx1"/>
                          </a:solidFill>
                          <a:latin typeface="Meiryo UI"/>
                          <a:ea typeface="Meiryo UI"/>
                          <a:cs typeface="+mn-cs"/>
                        </a:rPr>
                        <a:t>1,700</a:t>
                      </a:r>
                      <a:r>
                        <a:rPr lang="ja-JP" altLang="en-US" sz="900" b="0" i="0" u="none" strike="noStrike" kern="1200" baseline="0" dirty="0">
                          <a:solidFill>
                            <a:schemeClr val="tx1"/>
                          </a:solidFill>
                          <a:latin typeface="Meiryo UI"/>
                          <a:ea typeface="Meiryo UI"/>
                          <a:cs typeface="+mn-cs"/>
                        </a:rPr>
                        <a:t>千円</a:t>
                      </a:r>
                    </a:p>
                    <a:p>
                      <a:endParaRPr lang="ja-JP" altLang="en-US" sz="900" b="0" i="0" u="none" strike="noStrike" kern="1200" baseline="0" dirty="0">
                        <a:solidFill>
                          <a:schemeClr val="tx1"/>
                        </a:solidFill>
                        <a:latin typeface="Meiryo UI"/>
                        <a:ea typeface="Meiryo UI"/>
                        <a:cs typeface="+mn-cs"/>
                      </a:endParaRPr>
                    </a:p>
                    <a:p>
                      <a:r>
                        <a:rPr lang="ja-JP" altLang="en-US" sz="900" b="0" i="0" u="none" strike="noStrike" kern="1200" baseline="0" dirty="0">
                          <a:solidFill>
                            <a:schemeClr val="tx1"/>
                          </a:solidFill>
                          <a:latin typeface="Meiryo UI"/>
                          <a:ea typeface="Meiryo UI"/>
                          <a:cs typeface="+mn-cs"/>
                        </a:rPr>
                        <a:t>○大学に対する府内企業とのマッチング支援および未就職学生を減らすためのキャリア</a:t>
                      </a:r>
                      <a:endParaRPr lang="en-US" altLang="ja-JP" sz="900" b="0" i="0" u="none" strike="noStrike" kern="1200" baseline="0" dirty="0">
                        <a:solidFill>
                          <a:schemeClr val="tx1"/>
                        </a:solidFill>
                        <a:latin typeface="Meiryo UI"/>
                        <a:ea typeface="Meiryo UI"/>
                        <a:cs typeface="+mn-cs"/>
                      </a:endParaRPr>
                    </a:p>
                    <a:p>
                      <a:r>
                        <a:rPr lang="ja-JP" altLang="en-US" sz="900" b="0" i="0" u="none" strike="noStrike" kern="1200" baseline="0" dirty="0">
                          <a:solidFill>
                            <a:schemeClr val="tx1"/>
                          </a:solidFill>
                          <a:latin typeface="Meiryo UI"/>
                          <a:ea typeface="Meiryo UI"/>
                          <a:cs typeface="+mn-cs"/>
                        </a:rPr>
                        <a:t>　 支援手法の確立支援</a:t>
                      </a:r>
                    </a:p>
                    <a:p>
                      <a:r>
                        <a:rPr lang="ja-JP" altLang="en-US" sz="900" b="0" i="0" u="none" strike="noStrike" kern="1200" baseline="0" dirty="0">
                          <a:solidFill>
                            <a:schemeClr val="tx1"/>
                          </a:solidFill>
                          <a:latin typeface="Meiryo UI"/>
                          <a:ea typeface="Meiryo UI"/>
                          <a:cs typeface="+mn-cs"/>
                        </a:rPr>
                        <a:t>　・事業運営費（人件費、通信費、消耗品費など）　：</a:t>
                      </a:r>
                      <a:r>
                        <a:rPr lang="en-US" altLang="ja-JP" sz="900" b="0" i="0" u="none" strike="noStrike" kern="1200" baseline="0" dirty="0">
                          <a:solidFill>
                            <a:schemeClr val="tx1"/>
                          </a:solidFill>
                          <a:latin typeface="Meiryo UI"/>
                          <a:ea typeface="Meiryo UI"/>
                          <a:cs typeface="+mn-cs"/>
                        </a:rPr>
                        <a:t>3,546</a:t>
                      </a:r>
                      <a:r>
                        <a:rPr lang="ja-JP" altLang="en-US" sz="900" b="0" i="0" u="none" strike="noStrike" kern="1200" baseline="0" dirty="0">
                          <a:solidFill>
                            <a:schemeClr val="tx1"/>
                          </a:solidFill>
                          <a:latin typeface="Meiryo UI"/>
                          <a:ea typeface="Meiryo UI"/>
                          <a:cs typeface="+mn-cs"/>
                        </a:rPr>
                        <a:t>千円</a:t>
                      </a:r>
                    </a:p>
                    <a:p>
                      <a:r>
                        <a:rPr lang="ja-JP" altLang="en-US" sz="900" b="0" i="0" u="none" strike="noStrike" kern="1200" baseline="0" dirty="0">
                          <a:solidFill>
                            <a:schemeClr val="tx1"/>
                          </a:solidFill>
                          <a:latin typeface="Meiryo UI"/>
                          <a:ea typeface="Meiryo UI"/>
                          <a:cs typeface="+mn-cs"/>
                        </a:rPr>
                        <a:t>　・大学教職員向けセミナー・交流会開催費（講師・広報・会場など）　：</a:t>
                      </a:r>
                      <a:r>
                        <a:rPr lang="en-US" altLang="ja-JP" sz="900" b="0" i="0" u="none" strike="noStrike" kern="1200" baseline="0" dirty="0">
                          <a:solidFill>
                            <a:schemeClr val="tx1"/>
                          </a:solidFill>
                          <a:latin typeface="Meiryo UI"/>
                          <a:ea typeface="Meiryo UI"/>
                          <a:cs typeface="+mn-cs"/>
                        </a:rPr>
                        <a:t>1,200</a:t>
                      </a:r>
                      <a:r>
                        <a:rPr lang="ja-JP" altLang="en-US" sz="900" b="0" i="0" u="none" strike="noStrike" kern="1200" baseline="0" dirty="0">
                          <a:solidFill>
                            <a:schemeClr val="tx1"/>
                          </a:solidFill>
                          <a:latin typeface="Meiryo UI"/>
                          <a:ea typeface="Meiryo UI"/>
                          <a:cs typeface="+mn-cs"/>
                        </a:rPr>
                        <a:t>千円</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rowSpan="2">
                  <a:txBody>
                    <a:bodyPr/>
                    <a:lstStyle/>
                    <a:p>
                      <a:pPr algn="ctr"/>
                      <a:r>
                        <a:rPr kumimoji="1" lang="ja-JP" altLang="en-US" sz="1200" dirty="0">
                          <a:latin typeface="Meiryo UI" panose="020B0604030504040204" pitchFamily="50" charset="-128"/>
                          <a:ea typeface="Meiryo UI" panose="020B0604030504040204" pitchFamily="50" charset="-128"/>
                        </a:rPr>
                        <a:t>実施</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体制</a:t>
                      </a:r>
                    </a:p>
                  </a:txBody>
                  <a:tcPr anchor="ctr">
                    <a:solidFill>
                      <a:schemeClr val="bg1">
                        <a:lumMod val="95000"/>
                      </a:schemeClr>
                    </a:solidFill>
                  </a:tcPr>
                </a:tc>
                <a:tc rowSpan="2" gridSpan="2">
                  <a:txBody>
                    <a:bodyPr/>
                    <a:lstStyle/>
                    <a:p>
                      <a:pPr>
                        <a:lnSpc>
                          <a:spcPts val="1700"/>
                        </a:lnSpc>
                        <a:buFontTx/>
                        <a:buNone/>
                      </a:pP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tc>
                <a:tc rowSpan="2" hMerge="1">
                  <a:txBody>
                    <a:bodyPr/>
                    <a:lstStyle/>
                    <a:p>
                      <a:endParaRPr kumimoji="1" lang="ja-JP" altLang="en-US"/>
                    </a:p>
                  </a:txBody>
                  <a:tcPr anchor="ctr"/>
                </a:tc>
                <a:extLst>
                  <a:ext uri="{0D108BD9-81ED-4DB2-BD59-A6C34878D82A}">
                    <a16:rowId xmlns:a16="http://schemas.microsoft.com/office/drawing/2014/main" val="827494687"/>
                  </a:ext>
                </a:extLst>
              </a:tr>
              <a:tr h="1210967">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KPI</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ッコ内の数値は最終事業年度までの「</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PI</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加分の累計」の目標値</a:t>
                      </a:r>
                    </a:p>
                  </a:txBody>
                  <a:tcPr anchor="ctr">
                    <a:solidFill>
                      <a:schemeClr val="bg1">
                        <a:lumMod val="95000"/>
                      </a:schemeClr>
                    </a:solidFill>
                  </a:tcPr>
                </a:tc>
                <a:tc gridSpan="7">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①府内企業に就職した学生の数（＋</a:t>
                      </a:r>
                      <a:r>
                        <a:rPr kumimoji="1" lang="en-US" altLang="ja-JP" sz="1000" dirty="0">
                          <a:solidFill>
                            <a:schemeClr val="tx1"/>
                          </a:solidFill>
                          <a:latin typeface="Meiryo UI" panose="020B0604030504040204" pitchFamily="50" charset="-128"/>
                          <a:ea typeface="Meiryo UI" panose="020B0604030504040204" pitchFamily="50" charset="-128"/>
                        </a:rPr>
                        <a:t>1,200</a:t>
                      </a:r>
                      <a:r>
                        <a:rPr kumimoji="1" lang="ja-JP" altLang="en-US" sz="1000" dirty="0">
                          <a:solidFill>
                            <a:schemeClr val="tx1"/>
                          </a:solidFill>
                          <a:latin typeface="Meiryo UI" panose="020B0604030504040204" pitchFamily="50" charset="-128"/>
                          <a:ea typeface="Meiryo UI" panose="020B0604030504040204" pitchFamily="50" charset="-128"/>
                        </a:rPr>
                        <a:t>人）</a:t>
                      </a:r>
                    </a:p>
                    <a:p>
                      <a:r>
                        <a:rPr kumimoji="1" lang="ja-JP" altLang="en-US" sz="1000" dirty="0">
                          <a:solidFill>
                            <a:schemeClr val="tx1"/>
                          </a:solidFill>
                          <a:latin typeface="Meiryo UI" panose="020B0604030504040204" pitchFamily="50" charset="-128"/>
                          <a:ea typeface="Meiryo UI" panose="020B0604030504040204" pitchFamily="50" charset="-128"/>
                        </a:rPr>
                        <a:t>②本事業に参加した学生数（＋</a:t>
                      </a:r>
                      <a:r>
                        <a:rPr kumimoji="1" lang="en-US" altLang="ja-JP" sz="1000" dirty="0">
                          <a:solidFill>
                            <a:schemeClr val="tx1"/>
                          </a:solidFill>
                          <a:latin typeface="Meiryo UI" panose="020B0604030504040204" pitchFamily="50" charset="-128"/>
                          <a:ea typeface="Meiryo UI" panose="020B0604030504040204" pitchFamily="50" charset="-128"/>
                        </a:rPr>
                        <a:t>6,900</a:t>
                      </a:r>
                      <a:r>
                        <a:rPr kumimoji="1" lang="ja-JP" altLang="en-US" sz="1000" dirty="0">
                          <a:solidFill>
                            <a:schemeClr val="tx1"/>
                          </a:solidFill>
                          <a:latin typeface="Meiryo UI" panose="020B0604030504040204" pitchFamily="50" charset="-128"/>
                          <a:ea typeface="Meiryo UI" panose="020B0604030504040204" pitchFamily="50" charset="-128"/>
                        </a:rPr>
                        <a:t>人）</a:t>
                      </a:r>
                    </a:p>
                    <a:p>
                      <a:r>
                        <a:rPr kumimoji="1" lang="ja-JP" altLang="en-US" sz="1000" dirty="0">
                          <a:solidFill>
                            <a:schemeClr val="tx1"/>
                          </a:solidFill>
                          <a:latin typeface="Meiryo UI" panose="020B0604030504040204" pitchFamily="50" charset="-128"/>
                          <a:ea typeface="Meiryo UI" panose="020B0604030504040204" pitchFamily="50" charset="-128"/>
                        </a:rPr>
                        <a:t>③新卒採用等、若者の採用力強化に取り組む（取組む予定の）府内企業数</a:t>
                      </a: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900</a:t>
                      </a:r>
                      <a:r>
                        <a:rPr kumimoji="1" lang="ja-JP" altLang="en-US" sz="1000" dirty="0">
                          <a:solidFill>
                            <a:schemeClr val="tx1"/>
                          </a:solidFill>
                          <a:latin typeface="Meiryo UI" panose="020B0604030504040204" pitchFamily="50" charset="-128"/>
                          <a:ea typeface="Meiryo UI" panose="020B0604030504040204" pitchFamily="50" charset="-128"/>
                        </a:rPr>
                        <a:t>社）</a:t>
                      </a:r>
                    </a:p>
                    <a:p>
                      <a:r>
                        <a:rPr kumimoji="1" lang="ja-JP" altLang="en-US" sz="1000" dirty="0">
                          <a:solidFill>
                            <a:schemeClr val="tx1"/>
                          </a:solidFill>
                          <a:latin typeface="Meiryo UI" panose="020B0604030504040204" pitchFamily="50" charset="-128"/>
                          <a:ea typeface="Meiryo UI" panose="020B0604030504040204" pitchFamily="50" charset="-128"/>
                        </a:rPr>
                        <a:t>④本事業に参加した企業数（＋</a:t>
                      </a:r>
                      <a:r>
                        <a:rPr kumimoji="1" lang="en-US" altLang="ja-JP" sz="1000" dirty="0">
                          <a:solidFill>
                            <a:schemeClr val="tx1"/>
                          </a:solidFill>
                          <a:latin typeface="Meiryo UI" panose="020B0604030504040204" pitchFamily="50" charset="-128"/>
                          <a:ea typeface="Meiryo UI" panose="020B0604030504040204" pitchFamily="50" charset="-128"/>
                        </a:rPr>
                        <a:t>1,440</a:t>
                      </a:r>
                      <a:r>
                        <a:rPr kumimoji="1" lang="ja-JP" altLang="en-US" sz="1000" dirty="0">
                          <a:solidFill>
                            <a:schemeClr val="tx1"/>
                          </a:solidFill>
                          <a:latin typeface="Meiryo UI" panose="020B0604030504040204" pitchFamily="50" charset="-128"/>
                          <a:ea typeface="Meiryo UI" panose="020B0604030504040204" pitchFamily="50" charset="-128"/>
                        </a:rPr>
                        <a:t>社）</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sz="1400">
                        <a:latin typeface="Meiryo UI" panose="020B0604030504040204" pitchFamily="50" charset="-128"/>
                        <a:ea typeface="Meiryo UI" panose="020B0604030504040204" pitchFamily="50" charset="-128"/>
                      </a:endParaRPr>
                    </a:p>
                  </a:txBody>
                  <a:tcPr anchor="ctr"/>
                </a:tc>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solidFill>
                      <a:schemeClr val="bg1">
                        <a:lumMod val="95000"/>
                      </a:schemeClr>
                    </a:solidFill>
                  </a:tcPr>
                </a:tc>
                <a:tc gridSpan="2" vMerge="1">
                  <a:txBody>
                    <a:bodyPr/>
                    <a:lstStyle/>
                    <a:p>
                      <a:endParaRPr kumimoji="1" lang="ja-JP" altLang="en-US" sz="1000" dirty="0">
                        <a:solidFill>
                          <a:schemeClr val="tx1"/>
                        </a:solidFill>
                        <a:latin typeface="Meiryo UI" panose="020B0604030504040204" pitchFamily="50" charset="-128"/>
                        <a:ea typeface="Meiryo UI" panose="020B0604030504040204" pitchFamily="50" charset="-128"/>
                      </a:endParaRPr>
                    </a:p>
                  </a:txBody>
                  <a:tcPr anchor="ctr"/>
                </a:tc>
                <a:tc hMerge="1"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1200" i="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167952532"/>
                  </a:ext>
                </a:extLst>
              </a:tr>
            </a:tbl>
          </a:graphicData>
        </a:graphic>
      </p:graphicFrame>
      <p:grpSp>
        <p:nvGrpSpPr>
          <p:cNvPr id="8" name="グループ化 7">
            <a:extLst>
              <a:ext uri="{FF2B5EF4-FFF2-40B4-BE49-F238E27FC236}">
                <a16:creationId xmlns:a16="http://schemas.microsoft.com/office/drawing/2014/main" id="{9BE68F24-E726-4C42-B577-99548F214103}"/>
              </a:ext>
            </a:extLst>
          </p:cNvPr>
          <p:cNvGrpSpPr/>
          <p:nvPr/>
        </p:nvGrpSpPr>
        <p:grpSpPr>
          <a:xfrm>
            <a:off x="6156961" y="3286792"/>
            <a:ext cx="2009413" cy="1656495"/>
            <a:chOff x="5825676" y="3060757"/>
            <a:chExt cx="2258177" cy="1805186"/>
          </a:xfrm>
        </p:grpSpPr>
        <p:cxnSp>
          <p:nvCxnSpPr>
            <p:cNvPr id="15" name="直線コネクタ 14">
              <a:extLst>
                <a:ext uri="{FF2B5EF4-FFF2-40B4-BE49-F238E27FC236}">
                  <a16:creationId xmlns:a16="http://schemas.microsoft.com/office/drawing/2014/main" id="{B267C8EC-5C22-4997-99F5-FC761F855524}"/>
                </a:ext>
              </a:extLst>
            </p:cNvPr>
            <p:cNvCxnSpPr>
              <a:cxnSpLocks/>
            </p:cNvCxnSpPr>
            <p:nvPr/>
          </p:nvCxnSpPr>
          <p:spPr>
            <a:xfrm flipH="1">
              <a:off x="6829693" y="3120263"/>
              <a:ext cx="1254160" cy="0"/>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6" name="テキスト ボックス 15">
              <a:extLst>
                <a:ext uri="{FF2B5EF4-FFF2-40B4-BE49-F238E27FC236}">
                  <a16:creationId xmlns:a16="http://schemas.microsoft.com/office/drawing/2014/main" id="{36D8FC42-65D8-4F2B-8ADC-748FECF056E4}"/>
                </a:ext>
              </a:extLst>
            </p:cNvPr>
            <p:cNvSpPr txBox="1"/>
            <p:nvPr/>
          </p:nvSpPr>
          <p:spPr>
            <a:xfrm>
              <a:off x="7088621" y="3179341"/>
              <a:ext cx="965862" cy="251552"/>
            </a:xfrm>
            <a:prstGeom prst="rect">
              <a:avLst/>
            </a:prstGeom>
            <a:solidFill>
              <a:schemeClr val="bg1"/>
            </a:solidFill>
            <a:ln w="9525">
              <a:noFill/>
            </a:ln>
          </p:spPr>
          <p:txBody>
            <a:bodyPr wrap="square" rtlCol="0">
              <a:spAutoFit/>
            </a:bodyPr>
            <a:lstStyle/>
            <a:p>
              <a:pPr algn="ctr"/>
              <a:r>
                <a:rPr kumimoji="1" lang="ja-JP" altLang="en-US" sz="900" dirty="0">
                  <a:latin typeface="Meiryo UI" panose="020B0604030504040204" pitchFamily="50" charset="-128"/>
                  <a:ea typeface="Meiryo UI" panose="020B0604030504040204" pitchFamily="50" charset="-128"/>
                </a:rPr>
                <a:t>評価・審議等</a:t>
              </a:r>
              <a:endParaRPr kumimoji="1" lang="en-US" altLang="ja-JP" sz="900" dirty="0">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2B9FE58-A8E6-429D-8316-71B750B2E821}"/>
                </a:ext>
              </a:extLst>
            </p:cNvPr>
            <p:cNvSpPr/>
            <p:nvPr/>
          </p:nvSpPr>
          <p:spPr>
            <a:xfrm>
              <a:off x="6109695" y="3060757"/>
              <a:ext cx="720000" cy="23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chemeClr val="tx1"/>
                  </a:solidFill>
                  <a:latin typeface="Meiryo UI" panose="020B0604030504040204" pitchFamily="50" charset="-128"/>
                  <a:ea typeface="Meiryo UI" panose="020B0604030504040204" pitchFamily="50" charset="-128"/>
                </a:rPr>
                <a:t>大阪府</a:t>
              </a:r>
            </a:p>
          </p:txBody>
        </p:sp>
        <p:sp>
          <p:nvSpPr>
            <p:cNvPr id="18" name="テキスト ボックス 17">
              <a:extLst>
                <a:ext uri="{FF2B5EF4-FFF2-40B4-BE49-F238E27FC236}">
                  <a16:creationId xmlns:a16="http://schemas.microsoft.com/office/drawing/2014/main" id="{572E0733-3C3D-4FC7-985A-1E9B3EB42441}"/>
                </a:ext>
              </a:extLst>
            </p:cNvPr>
            <p:cNvSpPr txBox="1"/>
            <p:nvPr/>
          </p:nvSpPr>
          <p:spPr>
            <a:xfrm flipH="1">
              <a:off x="5825676" y="3639233"/>
              <a:ext cx="736949" cy="252536"/>
            </a:xfrm>
            <a:prstGeom prst="rect">
              <a:avLst/>
            </a:prstGeom>
            <a:solidFill>
              <a:schemeClr val="bg1"/>
            </a:solidFill>
            <a:ln w="9525">
              <a:noFill/>
            </a:ln>
          </p:spPr>
          <p:txBody>
            <a:bodyPr wrap="square" rtlCol="0">
              <a:spAutoFit/>
            </a:bodyPr>
            <a:lstStyle/>
            <a:p>
              <a:pPr algn="r"/>
              <a:r>
                <a:rPr kumimoji="1" lang="ja-JP" altLang="en-US" sz="900" dirty="0">
                  <a:latin typeface="Meiryo UI" panose="020B0604030504040204" pitchFamily="50" charset="-128"/>
                  <a:ea typeface="Meiryo UI" panose="020B0604030504040204" pitchFamily="50" charset="-128"/>
                </a:rPr>
                <a:t>委託契約</a:t>
              </a:r>
              <a:endParaRPr kumimoji="1" lang="en-US" altLang="ja-JP" sz="900" dirty="0">
                <a:latin typeface="Meiryo UI" panose="020B0604030504040204" pitchFamily="50" charset="-128"/>
                <a:ea typeface="Meiryo UI" panose="020B0604030504040204" pitchFamily="50" charset="-128"/>
              </a:endParaRPr>
            </a:p>
          </p:txBody>
        </p:sp>
        <p:cxnSp>
          <p:nvCxnSpPr>
            <p:cNvPr id="19" name="直線コネクタ 18">
              <a:extLst>
                <a:ext uri="{FF2B5EF4-FFF2-40B4-BE49-F238E27FC236}">
                  <a16:creationId xmlns:a16="http://schemas.microsoft.com/office/drawing/2014/main" id="{0D17A02C-4E5A-4A1A-9C4C-F7948F08F53D}"/>
                </a:ext>
              </a:extLst>
            </p:cNvPr>
            <p:cNvCxnSpPr>
              <a:cxnSpLocks/>
            </p:cNvCxnSpPr>
            <p:nvPr/>
          </p:nvCxnSpPr>
          <p:spPr>
            <a:xfrm>
              <a:off x="6543945" y="3301919"/>
              <a:ext cx="0" cy="1030500"/>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20" name="正方形/長方形 19">
              <a:extLst>
                <a:ext uri="{FF2B5EF4-FFF2-40B4-BE49-F238E27FC236}">
                  <a16:creationId xmlns:a16="http://schemas.microsoft.com/office/drawing/2014/main" id="{65A8DC77-65FC-4D6B-99A3-F2D9CBC69FFA}"/>
                </a:ext>
              </a:extLst>
            </p:cNvPr>
            <p:cNvSpPr/>
            <p:nvPr/>
          </p:nvSpPr>
          <p:spPr>
            <a:xfrm>
              <a:off x="6018765" y="4332751"/>
              <a:ext cx="1104948" cy="53319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Meiryo UI" panose="020B0604030504040204" pitchFamily="50" charset="-128"/>
                  <a:ea typeface="Meiryo UI" panose="020B0604030504040204" pitchFamily="50" charset="-128"/>
                </a:rPr>
                <a:t>若者・企業応援事業共同企業体</a:t>
              </a:r>
            </a:p>
          </p:txBody>
        </p:sp>
      </p:grpSp>
      <p:sp>
        <p:nvSpPr>
          <p:cNvPr id="9" name="正方形/長方形 8">
            <a:extLst>
              <a:ext uri="{FF2B5EF4-FFF2-40B4-BE49-F238E27FC236}">
                <a16:creationId xmlns:a16="http://schemas.microsoft.com/office/drawing/2014/main" id="{DBD629B5-4756-4151-96B3-330B33E9D610}"/>
              </a:ext>
            </a:extLst>
          </p:cNvPr>
          <p:cNvSpPr/>
          <p:nvPr/>
        </p:nvSpPr>
        <p:spPr>
          <a:xfrm>
            <a:off x="8197391" y="3295216"/>
            <a:ext cx="1362988" cy="42572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chemeClr val="tx1"/>
                </a:solidFill>
                <a:latin typeface="Meiryo UI" panose="020B0604030504040204" pitchFamily="50" charset="-128"/>
                <a:ea typeface="Meiryo UI" panose="020B0604030504040204" pitchFamily="50" charset="-128"/>
              </a:rPr>
              <a:t>大阪府まち・ひと・しごと創生推進審議会</a:t>
            </a:r>
          </a:p>
        </p:txBody>
      </p:sp>
      <p:graphicFrame>
        <p:nvGraphicFramePr>
          <p:cNvPr id="27" name="表 27">
            <a:extLst>
              <a:ext uri="{FF2B5EF4-FFF2-40B4-BE49-F238E27FC236}">
                <a16:creationId xmlns:a16="http://schemas.microsoft.com/office/drawing/2014/main" id="{E461D53B-750C-4211-BB72-EAED4460B7DF}"/>
              </a:ext>
            </a:extLst>
          </p:cNvPr>
          <p:cNvGraphicFramePr>
            <a:graphicFrameLocks noGrp="1"/>
          </p:cNvGraphicFramePr>
          <p:nvPr>
            <p:extLst>
              <p:ext uri="{D42A27DB-BD31-4B8C-83A1-F6EECF244321}">
                <p14:modId xmlns:p14="http://schemas.microsoft.com/office/powerpoint/2010/main" val="3521347791"/>
              </p:ext>
            </p:extLst>
          </p:nvPr>
        </p:nvGraphicFramePr>
        <p:xfrm>
          <a:off x="6151420" y="5103270"/>
          <a:ext cx="3499658" cy="1587879"/>
        </p:xfrm>
        <a:graphic>
          <a:graphicData uri="http://schemas.openxmlformats.org/drawingml/2006/table">
            <a:tbl>
              <a:tblPr firstRow="1" bandRow="1">
                <a:tableStyleId>{F5AB1C69-6EDB-4FF4-983F-18BD219EF322}</a:tableStyleId>
              </a:tblPr>
              <a:tblGrid>
                <a:gridCol w="1629635">
                  <a:extLst>
                    <a:ext uri="{9D8B030D-6E8A-4147-A177-3AD203B41FA5}">
                      <a16:colId xmlns:a16="http://schemas.microsoft.com/office/drawing/2014/main" val="1603474672"/>
                    </a:ext>
                  </a:extLst>
                </a:gridCol>
                <a:gridCol w="1870023">
                  <a:extLst>
                    <a:ext uri="{9D8B030D-6E8A-4147-A177-3AD203B41FA5}">
                      <a16:colId xmlns:a16="http://schemas.microsoft.com/office/drawing/2014/main" val="1706748393"/>
                    </a:ext>
                  </a:extLst>
                </a:gridCol>
              </a:tblGrid>
              <a:tr h="246759">
                <a:tc>
                  <a:txBody>
                    <a:bodyPr/>
                    <a:lstStyle/>
                    <a:p>
                      <a:pPr algn="ctr"/>
                      <a:r>
                        <a:rPr kumimoji="1" lang="ja-JP" altLang="en-US" sz="1000" dirty="0"/>
                        <a:t>名称</a:t>
                      </a:r>
                    </a:p>
                  </a:txBody>
                  <a:tcPr/>
                </a:tc>
                <a:tc>
                  <a:txBody>
                    <a:bodyPr/>
                    <a:lstStyle/>
                    <a:p>
                      <a:pPr algn="ctr"/>
                      <a:r>
                        <a:rPr kumimoji="1" lang="ja-JP" altLang="en-US" sz="1000" dirty="0"/>
                        <a:t>役割</a:t>
                      </a:r>
                    </a:p>
                  </a:txBody>
                  <a:tcPr/>
                </a:tc>
                <a:extLst>
                  <a:ext uri="{0D108BD9-81ED-4DB2-BD59-A6C34878D82A}">
                    <a16:rowId xmlns:a16="http://schemas.microsoft.com/office/drawing/2014/main" val="2211297618"/>
                  </a:ext>
                </a:extLst>
              </a:tr>
              <a:tr h="39481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atura MT Script Capitals" panose="03020802060602070202" pitchFamily="66" charset="0"/>
                          <a:ea typeface="Meiryo UI" panose="020B0604030504040204" pitchFamily="50" charset="-128"/>
                        </a:rPr>
                        <a:t>大阪府</a:t>
                      </a:r>
                    </a:p>
                  </a:txBody>
                  <a:tcPr/>
                </a:tc>
                <a:tc>
                  <a:txBody>
                    <a:bodyPr/>
                    <a:lstStyle/>
                    <a:p>
                      <a:r>
                        <a:rPr kumimoji="1" lang="ja-JP" altLang="en-US" sz="1000" dirty="0">
                          <a:solidFill>
                            <a:schemeClr val="tx1"/>
                          </a:solidFill>
                          <a:latin typeface="Matura MT Script Capitals" panose="03020802060602070202" pitchFamily="66" charset="0"/>
                          <a:ea typeface="Meiryo UI" panose="020B0604030504040204" pitchFamily="50" charset="-128"/>
                        </a:rPr>
                        <a:t>受託事業者との調整、進捗管理など</a:t>
                      </a:r>
                    </a:p>
                  </a:txBody>
                  <a:tcPr/>
                </a:tc>
                <a:extLst>
                  <a:ext uri="{0D108BD9-81ED-4DB2-BD59-A6C34878D82A}">
                    <a16:rowId xmlns:a16="http://schemas.microsoft.com/office/drawing/2014/main" val="2545108116"/>
                  </a:ext>
                </a:extLst>
              </a:tr>
              <a:tr h="394814">
                <a:tc>
                  <a:txBody>
                    <a:bodyPr/>
                    <a:lstStyle/>
                    <a:p>
                      <a:r>
                        <a:rPr lang="ja-JP" altLang="en-US" sz="1000" b="0" i="0" kern="1200" dirty="0">
                          <a:solidFill>
                            <a:schemeClr val="dk1"/>
                          </a:solidFill>
                          <a:effectLst/>
                          <a:latin typeface="Matura MT Script Capitals" panose="03020802060602070202" pitchFamily="66" charset="0"/>
                          <a:ea typeface="Meiryo UI" panose="020B0604030504040204" pitchFamily="50" charset="-128"/>
                          <a:cs typeface="+mn-cs"/>
                        </a:rPr>
                        <a:t>若者・企業応援事業共同企業体</a:t>
                      </a:r>
                      <a:endParaRPr kumimoji="1" lang="ja-JP" altLang="en-US" sz="1000" dirty="0">
                        <a:latin typeface="Matura MT Script Capitals" panose="03020802060602070202" pitchFamily="66" charset="0"/>
                        <a:ea typeface="Meiryo UI" panose="020B060403050404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atura MT Script Capitals" panose="03020802060602070202" pitchFamily="66" charset="0"/>
                          <a:ea typeface="Meiryo UI" panose="020B0604030504040204" pitchFamily="50" charset="-128"/>
                        </a:rPr>
                        <a:t>本事業の受託業務全般の実施</a:t>
                      </a:r>
                    </a:p>
                  </a:txBody>
                  <a:tcPr/>
                </a:tc>
                <a:extLst>
                  <a:ext uri="{0D108BD9-81ED-4DB2-BD59-A6C34878D82A}">
                    <a16:rowId xmlns:a16="http://schemas.microsoft.com/office/drawing/2014/main" val="242049009"/>
                  </a:ext>
                </a:extLst>
              </a:tr>
              <a:tr h="54286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atura MT Script Capitals" panose="03020802060602070202" pitchFamily="66" charset="0"/>
                          <a:ea typeface="Meiryo UI" panose="020B0604030504040204" pitchFamily="50" charset="-128"/>
                        </a:rPr>
                        <a:t>大阪府まち・ひと・しごと創生推進審議会</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atura MT Script Capitals" panose="03020802060602070202" pitchFamily="66" charset="0"/>
                          <a:ea typeface="Meiryo UI" panose="020B0604030504040204" pitchFamily="50" charset="-128"/>
                        </a:rPr>
                        <a:t>進捗状況の評価についての調査審議を行うため、外部有識者により構成する審議会を設置</a:t>
                      </a:r>
                    </a:p>
                  </a:txBody>
                  <a:tcPr/>
                </a:tc>
                <a:extLst>
                  <a:ext uri="{0D108BD9-81ED-4DB2-BD59-A6C34878D82A}">
                    <a16:rowId xmlns:a16="http://schemas.microsoft.com/office/drawing/2014/main" val="1939292736"/>
                  </a:ext>
                </a:extLst>
              </a:tr>
            </a:tbl>
          </a:graphicData>
        </a:graphic>
      </p:graphicFrame>
      <p:sp>
        <p:nvSpPr>
          <p:cNvPr id="23" name="正方形/長方形 22">
            <a:extLst>
              <a:ext uri="{FF2B5EF4-FFF2-40B4-BE49-F238E27FC236}">
                <a16:creationId xmlns:a16="http://schemas.microsoft.com/office/drawing/2014/main" id="{BD4B78AE-AA4C-4AC4-BFE6-E73161AD583F}"/>
              </a:ext>
            </a:extLst>
          </p:cNvPr>
          <p:cNvSpPr/>
          <p:nvPr/>
        </p:nvSpPr>
        <p:spPr>
          <a:xfrm>
            <a:off x="7587040" y="3924205"/>
            <a:ext cx="1837504" cy="1067578"/>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F8D41FCC-7160-4CC7-A296-AED9A5A285E8}"/>
              </a:ext>
            </a:extLst>
          </p:cNvPr>
          <p:cNvSpPr/>
          <p:nvPr/>
        </p:nvSpPr>
        <p:spPr>
          <a:xfrm>
            <a:off x="7677703" y="4058432"/>
            <a:ext cx="659153" cy="22890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Meiryo UI" panose="020B0604030504040204" pitchFamily="50" charset="-128"/>
                <a:ea typeface="Meiryo UI" panose="020B0604030504040204" pitchFamily="50" charset="-128"/>
              </a:rPr>
              <a:t>府内大学</a:t>
            </a:r>
          </a:p>
        </p:txBody>
      </p:sp>
      <p:sp>
        <p:nvSpPr>
          <p:cNvPr id="26" name="正方形/長方形 25">
            <a:extLst>
              <a:ext uri="{FF2B5EF4-FFF2-40B4-BE49-F238E27FC236}">
                <a16:creationId xmlns:a16="http://schemas.microsoft.com/office/drawing/2014/main" id="{18C5A8A2-76F6-42E0-8AA7-6428DB06C311}"/>
              </a:ext>
            </a:extLst>
          </p:cNvPr>
          <p:cNvSpPr/>
          <p:nvPr/>
        </p:nvSpPr>
        <p:spPr>
          <a:xfrm>
            <a:off x="8468953" y="4060370"/>
            <a:ext cx="896992" cy="21990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Meiryo UI" panose="020B0604030504040204" pitchFamily="50" charset="-128"/>
                <a:ea typeface="Meiryo UI" panose="020B0604030504040204" pitchFamily="50" charset="-128"/>
              </a:rPr>
              <a:t>府内中小企業</a:t>
            </a:r>
          </a:p>
        </p:txBody>
      </p:sp>
      <p:sp>
        <p:nvSpPr>
          <p:cNvPr id="28" name="テキスト ボックス 27">
            <a:extLst>
              <a:ext uri="{FF2B5EF4-FFF2-40B4-BE49-F238E27FC236}">
                <a16:creationId xmlns:a16="http://schemas.microsoft.com/office/drawing/2014/main" id="{AEDD9C7D-DA08-419B-9299-2555C8D1E6A2}"/>
              </a:ext>
            </a:extLst>
          </p:cNvPr>
          <p:cNvSpPr txBox="1"/>
          <p:nvPr/>
        </p:nvSpPr>
        <p:spPr>
          <a:xfrm>
            <a:off x="7827548" y="3794198"/>
            <a:ext cx="1353319" cy="230832"/>
          </a:xfrm>
          <a:prstGeom prst="rect">
            <a:avLst/>
          </a:prstGeom>
          <a:solidFill>
            <a:schemeClr val="bg1"/>
          </a:solidFill>
          <a:ln w="9525">
            <a:noFill/>
          </a:ln>
        </p:spPr>
        <p:txBody>
          <a:bodyPr wrap="square" rtlCol="0">
            <a:spAutoFit/>
          </a:bodyPr>
          <a:lstStyle/>
          <a:p>
            <a:pPr algn="ctr"/>
            <a:r>
              <a:rPr kumimoji="1" lang="ja-JP" altLang="en-US" sz="900" dirty="0">
                <a:latin typeface="Meiryo UI" panose="020B0604030504040204" pitchFamily="50" charset="-128"/>
                <a:ea typeface="Meiryo UI" panose="020B0604030504040204" pitchFamily="50" charset="-128"/>
              </a:rPr>
              <a:t>関連するステークホルダー</a:t>
            </a:r>
          </a:p>
        </p:txBody>
      </p:sp>
      <p:sp>
        <p:nvSpPr>
          <p:cNvPr id="29" name="正方形/長方形 28">
            <a:extLst>
              <a:ext uri="{FF2B5EF4-FFF2-40B4-BE49-F238E27FC236}">
                <a16:creationId xmlns:a16="http://schemas.microsoft.com/office/drawing/2014/main" id="{DDF35998-AD9D-4638-9ECE-DFEC47554180}"/>
              </a:ext>
            </a:extLst>
          </p:cNvPr>
          <p:cNvSpPr/>
          <p:nvPr/>
        </p:nvSpPr>
        <p:spPr>
          <a:xfrm>
            <a:off x="7647156" y="4366028"/>
            <a:ext cx="753276" cy="24975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Meiryo UI" panose="020B0604030504040204" pitchFamily="50" charset="-128"/>
                <a:ea typeface="Meiryo UI" panose="020B0604030504040204" pitchFamily="50" charset="-128"/>
              </a:rPr>
              <a:t>大学コンソーシアム大阪</a:t>
            </a:r>
          </a:p>
        </p:txBody>
      </p:sp>
      <p:sp>
        <p:nvSpPr>
          <p:cNvPr id="30" name="正方形/長方形 29">
            <a:extLst>
              <a:ext uri="{FF2B5EF4-FFF2-40B4-BE49-F238E27FC236}">
                <a16:creationId xmlns:a16="http://schemas.microsoft.com/office/drawing/2014/main" id="{0A665188-E1E0-4B31-819B-EB176D4BE0A9}"/>
              </a:ext>
            </a:extLst>
          </p:cNvPr>
          <p:cNvSpPr/>
          <p:nvPr/>
        </p:nvSpPr>
        <p:spPr>
          <a:xfrm>
            <a:off x="8470591" y="4382579"/>
            <a:ext cx="891924" cy="21990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Meiryo UI" panose="020B0604030504040204" pitchFamily="50" charset="-128"/>
                <a:ea typeface="Meiryo UI" panose="020B0604030504040204" pitchFamily="50" charset="-128"/>
              </a:rPr>
              <a:t>商工会議所</a:t>
            </a:r>
          </a:p>
        </p:txBody>
      </p:sp>
      <p:sp>
        <p:nvSpPr>
          <p:cNvPr id="31" name="正方形/長方形 30">
            <a:extLst>
              <a:ext uri="{FF2B5EF4-FFF2-40B4-BE49-F238E27FC236}">
                <a16:creationId xmlns:a16="http://schemas.microsoft.com/office/drawing/2014/main" id="{DE7AD475-4A8F-4871-9F94-B7BE95E95020}"/>
              </a:ext>
            </a:extLst>
          </p:cNvPr>
          <p:cNvSpPr/>
          <p:nvPr/>
        </p:nvSpPr>
        <p:spPr>
          <a:xfrm>
            <a:off x="7954607" y="4677326"/>
            <a:ext cx="1099203" cy="2308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Meiryo UI" panose="020B0604030504040204" pitchFamily="50" charset="-128"/>
                <a:ea typeface="Meiryo UI" panose="020B0604030504040204" pitchFamily="50" charset="-128"/>
              </a:rPr>
              <a:t>その他、関係機関</a:t>
            </a:r>
          </a:p>
        </p:txBody>
      </p:sp>
    </p:spTree>
    <p:extLst>
      <p:ext uri="{BB962C8B-B14F-4D97-AF65-F5344CB8AC3E}">
        <p14:creationId xmlns:p14="http://schemas.microsoft.com/office/powerpoint/2010/main" val="1731062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1">
      <a:majorFont>
        <a:latin typeface="Georgia"/>
        <a:ea typeface="HGP明朝B"/>
        <a:cs typeface=""/>
      </a:majorFont>
      <a:minorFont>
        <a:latin typeface="Arial"/>
        <a:ea typeface="ＭＳ Ｐゴシック"/>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1"/>
        </a:solidFill>
        <a:ln w="9525">
          <a:solidFill>
            <a:schemeClr val="accent1"/>
          </a:solidFill>
        </a:ln>
      </a:spPr>
      <a:bodyPr rtlCol="0" anchor="ctr"/>
      <a:lstStyle>
        <a:defPPr algn="ctr">
          <a:lnSpc>
            <a:spcPct val="100000"/>
          </a:lnSpc>
          <a:defRPr kumimoji="1" sz="1400" dirty="0" smtClean="0">
            <a:solidFill>
              <a:schemeClr val="tx1"/>
            </a:solidFill>
          </a:defRPr>
        </a:defPPr>
      </a:lstStyle>
      <a:style>
        <a:lnRef idx="0">
          <a:schemeClr val="accent1"/>
        </a:lnRef>
        <a:fillRef idx="1">
          <a:schemeClr val="accent1"/>
        </a:fillRef>
        <a:effectRef idx="0">
          <a:schemeClr val="dk1"/>
        </a:effectRef>
        <a:fontRef idx="minor">
          <a:schemeClr val="lt1"/>
        </a:fontRef>
      </a:style>
    </a:spDef>
    <a:lnDef>
      <a:spPr>
        <a:ln w="9525"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nchor="ctr" anchorCtr="0">
        <a:spAutoFit/>
      </a:bodyPr>
      <a:lstStyle>
        <a:defPPr algn="l">
          <a:defRPr kumimoji="1" sz="1400" b="0" smtClean="0">
            <a:solidFill>
              <a:schemeClr val="tx1"/>
            </a:solidFill>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resentation1" id="{CCF45EB7-F9DF-47C5-AB85-48BC232BEAA9}" vid="{DFCB562E-E06E-4428-B9BF-980ED610BD28}"/>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5baf6f3-037f-47c4-8ce6-401f2145fe42">
      <Terms xmlns="http://schemas.microsoft.com/office/infopath/2007/PartnerControls"/>
    </lcf76f155ced4ddcb4097134ff3c332f>
    <TaxCatchAll xmlns="5f1cb31e-0878-4583-824f-77bbdf5ced5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A710B91F3F4C8741B4980356BA13F24F" ma:contentTypeVersion="13" ma:contentTypeDescription="新しいドキュメントを作成します。" ma:contentTypeScope="" ma:versionID="371c07bc1f009aff4d92e927acb7398c">
  <xsd:schema xmlns:xsd="http://www.w3.org/2001/XMLSchema" xmlns:xs="http://www.w3.org/2001/XMLSchema" xmlns:p="http://schemas.microsoft.com/office/2006/metadata/properties" xmlns:ns2="15baf6f3-037f-47c4-8ce6-401f2145fe42" xmlns:ns3="5f1cb31e-0878-4583-824f-77bbdf5ced5f" targetNamespace="http://schemas.microsoft.com/office/2006/metadata/properties" ma:root="true" ma:fieldsID="4c143a26da35c8638e8b1d62de7f5745" ns2:_="" ns3:_="">
    <xsd:import namespace="15baf6f3-037f-47c4-8ce6-401f2145fe42"/>
    <xsd:import namespace="5f1cb31e-0878-4583-824f-77bbdf5ced5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baf6f3-037f-47c4-8ce6-401f2145fe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1cb31e-0878-4583-824f-77bbdf5ced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da75fde-06fd-4f09-8d13-58ff50df841a}" ma:internalName="TaxCatchAll" ma:showField="CatchAllData" ma:web="5f1cb31e-0878-4583-824f-77bbdf5ced5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0180633-03E3-40B4-B06F-C40EFB9E2519}">
  <ds:schemaRefs>
    <ds:schemaRef ds:uri="http://purl.org/dc/terms/"/>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15baf6f3-037f-47c4-8ce6-401f2145fe42"/>
    <ds:schemaRef ds:uri="http://schemas.microsoft.com/office/infopath/2007/PartnerControls"/>
    <ds:schemaRef ds:uri="5f1cb31e-0878-4583-824f-77bbdf5ced5f"/>
    <ds:schemaRef ds:uri="http://purl.org/dc/dcmitype/"/>
    <ds:schemaRef ds:uri="http://purl.org/dc/elements/1.1/"/>
  </ds:schemaRefs>
</ds:datastoreItem>
</file>

<file path=customXml/itemProps2.xml><?xml version="1.0" encoding="utf-8"?>
<ds:datastoreItem xmlns:ds="http://schemas.openxmlformats.org/officeDocument/2006/customXml" ds:itemID="{FDCC2495-8A4F-4BA0-A19C-91B77DC5E78E}">
  <ds:schemaRefs>
    <ds:schemaRef ds:uri="http://schemas.microsoft.com/sharepoint/v3/contenttype/forms"/>
  </ds:schemaRefs>
</ds:datastoreItem>
</file>

<file path=customXml/itemProps3.xml><?xml version="1.0" encoding="utf-8"?>
<ds:datastoreItem xmlns:ds="http://schemas.openxmlformats.org/officeDocument/2006/customXml" ds:itemID="{861ADEB1-864A-48B3-A184-90C48CCC7050}">
  <ds:schemaRefs>
    <ds:schemaRef ds:uri="15baf6f3-037f-47c4-8ce6-401f2145fe42"/>
    <ds:schemaRef ds:uri="5f1cb31e-0878-4583-824f-77bbdf5ced5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447</TotalTime>
  <Words>673</Words>
  <Application>Microsoft Office PowerPoint</Application>
  <PresentationFormat>A4 210 x 297 mm</PresentationFormat>
  <Paragraphs>75</Paragraphs>
  <Slides>1</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1</vt:i4>
      </vt:variant>
    </vt:vector>
  </HeadingPairs>
  <TitlesOfParts>
    <vt:vector size="11" baseType="lpstr">
      <vt:lpstr>Meiryo UI</vt:lpstr>
      <vt:lpstr>游ゴシック</vt:lpstr>
      <vt:lpstr>游ゴシック Light</vt:lpstr>
      <vt:lpstr>Arial</vt:lpstr>
      <vt:lpstr>Georgia</vt:lpstr>
      <vt:lpstr>Matura MT Script Capitals</vt:lpstr>
      <vt:lpstr>Wingdings</vt:lpstr>
      <vt:lpstr>PwC</vt:lpstr>
      <vt:lpstr>デザインの設定</vt:lpstr>
      <vt:lpstr>think-cell スライド</vt:lpstr>
      <vt:lpstr>PowerPoint プレゼンテーション</vt:lpstr>
    </vt:vector>
  </TitlesOfParts>
  <Company>内閣府</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佐々木 琢磨（デジ田会議事務局）</dc:creator>
  <cp:lastModifiedBy>冨田　愛</cp:lastModifiedBy>
  <cp:revision>194</cp:revision>
  <cp:lastPrinted>2025-05-15T10:47:41Z</cp:lastPrinted>
  <dcterms:created xsi:type="dcterms:W3CDTF">2023-11-01T11:03:49Z</dcterms:created>
  <dcterms:modified xsi:type="dcterms:W3CDTF">2025-06-24T04:3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10B91F3F4C8741B4980356BA13F24F</vt:lpwstr>
  </property>
  <property fmtid="{D5CDD505-2E9C-101B-9397-08002B2CF9AE}" pid="3" name="MediaServiceImageTags">
    <vt:lpwstr/>
  </property>
</Properties>
</file>